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 bookmarkIdSeed="2">
  <p:sldMasterIdLst>
    <p:sldMasterId id="2147483709" r:id="rId1"/>
  </p:sldMasterIdLst>
  <p:notesMasterIdLst>
    <p:notesMasterId r:id="rId30"/>
  </p:notesMasterIdLst>
  <p:handoutMasterIdLst>
    <p:handoutMasterId r:id="rId31"/>
  </p:handoutMasterIdLst>
  <p:sldIdLst>
    <p:sldId id="334" r:id="rId2"/>
    <p:sldId id="315" r:id="rId3"/>
    <p:sldId id="388" r:id="rId4"/>
    <p:sldId id="370" r:id="rId5"/>
    <p:sldId id="366" r:id="rId6"/>
    <p:sldId id="389" r:id="rId7"/>
    <p:sldId id="278" r:id="rId8"/>
    <p:sldId id="279" r:id="rId9"/>
    <p:sldId id="362" r:id="rId10"/>
    <p:sldId id="414" r:id="rId11"/>
    <p:sldId id="346" r:id="rId12"/>
    <p:sldId id="406" r:id="rId13"/>
    <p:sldId id="392" r:id="rId14"/>
    <p:sldId id="395" r:id="rId15"/>
    <p:sldId id="381" r:id="rId16"/>
    <p:sldId id="425" r:id="rId17"/>
    <p:sldId id="347" r:id="rId18"/>
    <p:sldId id="420" r:id="rId19"/>
    <p:sldId id="371" r:id="rId20"/>
    <p:sldId id="398" r:id="rId21"/>
    <p:sldId id="423" r:id="rId22"/>
    <p:sldId id="427" r:id="rId23"/>
    <p:sldId id="365" r:id="rId24"/>
    <p:sldId id="311" r:id="rId25"/>
    <p:sldId id="298" r:id="rId26"/>
    <p:sldId id="283" r:id="rId27"/>
    <p:sldId id="404" r:id="rId28"/>
    <p:sldId id="287" r:id="rId29"/>
  </p:sldIdLst>
  <p:sldSz cx="10080625" cy="7561263"/>
  <p:notesSz cx="6797675" cy="9928225"/>
  <p:custDataLst>
    <p:tags r:id="rId32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44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65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pos="299" userDrawn="1">
          <p15:clr>
            <a:srgbClr val="A4A3A4"/>
          </p15:clr>
        </p15:guide>
        <p15:guide id="4" pos="398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Szerző" initials="S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00FFFF"/>
    <a:srgbClr val="E20074"/>
    <a:srgbClr val="E20000"/>
    <a:srgbClr val="992C99"/>
    <a:srgbClr val="4B4B4B"/>
    <a:srgbClr val="C4C4C4"/>
    <a:srgbClr val="66FF66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74" autoAdjust="0"/>
    <p:restoredTop sz="94620" autoAdjust="0"/>
  </p:normalViewPr>
  <p:slideViewPr>
    <p:cSldViewPr snapToGrid="0" snapToObjects="1">
      <p:cViewPr varScale="1">
        <p:scale>
          <a:sx n="99" d="100"/>
          <a:sy n="99" d="100"/>
        </p:scale>
        <p:origin x="1686" y="90"/>
      </p:cViewPr>
      <p:guideLst>
        <p:guide orient="horz" pos="2382"/>
        <p:guide pos="227"/>
        <p:guide orient="horz" pos="226"/>
        <p:guide orient="horz" pos="1021"/>
        <p:guide orient="horz" pos="3844"/>
        <p:guide orient="horz" pos="749"/>
        <p:guide orient="horz" pos="4105"/>
        <p:guide orient="horz" pos="4365"/>
        <p:guide orient="horz" pos="4536"/>
        <p:guide pos="1724"/>
        <p:guide pos="1632"/>
        <p:guide pos="6123"/>
        <p:guide pos="4717"/>
        <p:guide pos="4627"/>
        <p:guide pos="3220"/>
        <p:guide pos="3130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4470"/>
    </p:cViewPr>
  </p:sorterViewPr>
  <p:notesViewPr>
    <p:cSldViewPr snapToGrid="0" snapToObjects="1" showGuides="1">
      <p:cViewPr>
        <p:scale>
          <a:sx n="50" d="100"/>
          <a:sy n="50" d="100"/>
        </p:scale>
        <p:origin x="2898" y="48"/>
      </p:cViewPr>
      <p:guideLst>
        <p:guide orient="horz" pos="3127"/>
        <p:guide pos="2141"/>
        <p:guide pos="299"/>
        <p:guide pos="398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855015" y="9381000"/>
            <a:ext cx="467452" cy="304883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78356" y="261995"/>
            <a:ext cx="5806347" cy="280956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6950" y="403225"/>
            <a:ext cx="4803775" cy="3603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4589" y="4209154"/>
            <a:ext cx="5848498" cy="49744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855635" y="9381000"/>
            <a:ext cx="467452" cy="30488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33</a:t>
            </a: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345300-06CA-40BE-9A9D-B151DEC6D99A}" type="slidenum">
              <a:rPr lang="hu-HU" smtClean="0"/>
              <a:pPr/>
              <a:t>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448331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Diakép helye 1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Jegyzetek helye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altLang="hu-HU" smtClean="0">
              <a:cs typeface="Arial" panose="020B0604020202020204" pitchFamily="34" charset="0"/>
            </a:endParaRPr>
          </a:p>
        </p:txBody>
      </p:sp>
      <p:sp>
        <p:nvSpPr>
          <p:cNvPr id="4" name="Dátum helye 3"/>
          <p:cNvSpPr>
            <a:spLocks noGrp="1"/>
          </p:cNvSpPr>
          <p:nvPr>
            <p:ph type="dt" sz="quarter" idx="1"/>
          </p:nvPr>
        </p:nvSpPr>
        <p:spPr>
          <a:xfrm>
            <a:off x="5089525" y="9358313"/>
            <a:ext cx="1101725" cy="28098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4"/>
          </p:nvPr>
        </p:nvSpPr>
        <p:spPr>
          <a:xfrm>
            <a:off x="471488" y="9358313"/>
            <a:ext cx="4481512" cy="28098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eaLnBrk="1" hangingPunct="1"/>
            <a:fld id="{EF049A1B-6C70-4B3B-8588-F7A1A732CB50}" type="slidenum">
              <a:rPr lang="de-DE" altLang="hu-HU">
                <a:solidFill>
                  <a:schemeClr val="tx1"/>
                </a:solidFill>
                <a:latin typeface="Tele-GroteskNor" pitchFamily="2" charset="0"/>
              </a:rPr>
              <a:pPr eaLnBrk="1" hangingPunct="1"/>
              <a:t>4</a:t>
            </a:fld>
            <a:endParaRPr lang="de-DE" altLang="hu-HU">
              <a:solidFill>
                <a:schemeClr val="tx1"/>
              </a:solidFill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3346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345300-06CA-40BE-9A9D-B151DEC6D99A}" type="slidenum">
              <a:rPr lang="hu-HU" smtClean="0"/>
              <a:pPr/>
              <a:t>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194430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345300-06CA-40BE-9A9D-B151DEC6D99A}" type="slidenum">
              <a:rPr lang="hu-HU" smtClean="0"/>
              <a:pPr/>
              <a:t>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423369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345300-06CA-40BE-9A9D-B151DEC6D99A}" type="slidenum">
              <a:rPr lang="hu-HU" smtClean="0"/>
              <a:pPr/>
              <a:t>1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553125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98578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n top of VIAF a group of National Libraries, including BL, BNF, German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Natioanal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Library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has developed the ISNI service, the International Standard Name Identifier. The service is run from a CBS server and provides unique author identifiers for national libraries, registration agencies and music industry. With the continuing growth of the internet unique identifiers for authors are a necessity to  be able to identify authors and make a difference between Paul Smith and Paul Smith. Many national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Libraries have become members </a:t>
            </a:r>
            <a:r>
              <a:rPr lang="nl-NL" sz="1200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, Including LC, Nat. Libraries of Finland, Norway, New Zealand and Poland and more will follow.</a:t>
            </a:r>
            <a:endParaRPr lang="nl-NL" sz="1200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marL="0" indent="0">
              <a:buFont typeface="Arial"/>
              <a:buNone/>
            </a:pPr>
            <a:endParaRPr lang="fr-FR" dirty="0" smtClean="0"/>
          </a:p>
          <a:p>
            <a:pPr marL="171450" indent="-171450">
              <a:buFont typeface="Arial"/>
              <a:buChar char="•"/>
            </a:pPr>
            <a:endParaRPr lang="fr-FR" dirty="0" smtClean="0"/>
          </a:p>
          <a:p>
            <a:pPr marL="171450" indent="-171450">
              <a:buFont typeface="Arial"/>
              <a:buChar char="•"/>
            </a:pPr>
            <a:r>
              <a:rPr lang="fr-FR" dirty="0" smtClean="0"/>
              <a:t>Multiple </a:t>
            </a:r>
            <a:r>
              <a:rPr lang="fr-FR" dirty="0" err="1" smtClean="0"/>
              <a:t>domains</a:t>
            </a:r>
            <a:r>
              <a:rPr lang="fr-FR" dirty="0" smtClean="0"/>
              <a:t> – </a:t>
            </a:r>
            <a:r>
              <a:rPr lang="fr-FR" dirty="0" err="1" smtClean="0"/>
              <a:t>libraries</a:t>
            </a:r>
            <a:r>
              <a:rPr lang="fr-FR" dirty="0" smtClean="0"/>
              <a:t>, </a:t>
            </a:r>
            <a:r>
              <a:rPr lang="fr-FR" dirty="0" err="1" smtClean="0"/>
              <a:t>trade</a:t>
            </a:r>
            <a:r>
              <a:rPr lang="fr-FR" dirty="0" smtClean="0"/>
              <a:t>, </a:t>
            </a:r>
            <a:r>
              <a:rPr lang="fr-FR" dirty="0" err="1" smtClean="0"/>
              <a:t>text</a:t>
            </a:r>
            <a:r>
              <a:rPr lang="fr-FR" dirty="0" smtClean="0"/>
              <a:t> right, music </a:t>
            </a:r>
            <a:r>
              <a:rPr lang="fr-FR" dirty="0" err="1" smtClean="0"/>
              <a:t>rights</a:t>
            </a:r>
            <a:r>
              <a:rPr lang="fr-FR" dirty="0" smtClean="0"/>
              <a:t>, </a:t>
            </a:r>
            <a:r>
              <a:rPr lang="fr-FR" dirty="0" err="1" smtClean="0"/>
              <a:t>encyclopaedias</a:t>
            </a:r>
            <a:r>
              <a:rPr lang="fr-FR" dirty="0" smtClean="0"/>
              <a:t>, </a:t>
            </a:r>
            <a:r>
              <a:rPr lang="fr-FR" dirty="0" err="1" smtClean="0"/>
              <a:t>researchers</a:t>
            </a:r>
            <a:r>
              <a:rPr lang="fr-FR" dirty="0" smtClean="0"/>
              <a:t> and </a:t>
            </a:r>
            <a:r>
              <a:rPr lang="fr-FR" dirty="0" err="1" smtClean="0"/>
              <a:t>professional</a:t>
            </a:r>
            <a:r>
              <a:rPr lang="fr-FR" dirty="0" smtClean="0"/>
              <a:t> </a:t>
            </a:r>
            <a:r>
              <a:rPr lang="fr-FR" dirty="0" err="1" smtClean="0"/>
              <a:t>societies</a:t>
            </a:r>
            <a:r>
              <a:rPr lang="fr-FR" dirty="0" smtClean="0"/>
              <a:t>.</a:t>
            </a:r>
            <a:r>
              <a:rPr lang="fr-FR" baseline="0" dirty="0" smtClean="0"/>
              <a:t>  Archives and </a:t>
            </a:r>
            <a:r>
              <a:rPr lang="fr-FR" baseline="0" dirty="0" err="1" smtClean="0"/>
              <a:t>museum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from</a:t>
            </a:r>
            <a:r>
              <a:rPr lang="fr-FR" baseline="0" dirty="0" smtClean="0"/>
              <a:t> France and </a:t>
            </a:r>
            <a:r>
              <a:rPr lang="fr-FR" baseline="0" dirty="0" err="1" smtClean="0"/>
              <a:t>other</a:t>
            </a:r>
            <a:r>
              <a:rPr lang="fr-FR" baseline="0" dirty="0" smtClean="0"/>
              <a:t> areas are </a:t>
            </a:r>
            <a:r>
              <a:rPr lang="fr-FR" baseline="0" dirty="0" err="1" smtClean="0"/>
              <a:t>expected</a:t>
            </a:r>
            <a:r>
              <a:rPr lang="fr-FR" baseline="0" dirty="0" smtClean="0"/>
              <a:t> to </a:t>
            </a:r>
            <a:r>
              <a:rPr lang="fr-FR" baseline="0" dirty="0" err="1" smtClean="0"/>
              <a:t>join</a:t>
            </a:r>
            <a:r>
              <a:rPr lang="fr-FR" baseline="0" dirty="0" smtClean="0"/>
              <a:t> in 2014</a:t>
            </a:r>
            <a:endParaRPr lang="fr-FR" dirty="0" smtClean="0"/>
          </a:p>
          <a:p>
            <a:pPr marL="171450" indent="-171450">
              <a:buFont typeface="Arial"/>
              <a:buChar char="•"/>
            </a:pPr>
            <a:r>
              <a:rPr lang="fr-FR" dirty="0" smtClean="0"/>
              <a:t>25 </a:t>
            </a:r>
            <a:r>
              <a:rPr lang="fr-FR" dirty="0" err="1" smtClean="0"/>
              <a:t>contributors</a:t>
            </a:r>
            <a:r>
              <a:rPr lang="fr-FR" dirty="0" smtClean="0"/>
              <a:t> of data (</a:t>
            </a:r>
            <a:r>
              <a:rPr lang="fr-FR" dirty="0" err="1" smtClean="0"/>
              <a:t>counting</a:t>
            </a:r>
            <a:r>
              <a:rPr lang="fr-FR" dirty="0" smtClean="0"/>
              <a:t> VIAF as one 1 – </a:t>
            </a:r>
            <a:r>
              <a:rPr lang="fr-FR" dirty="0" err="1" smtClean="0"/>
              <a:t>it</a:t>
            </a:r>
            <a:r>
              <a:rPr lang="fr-FR" dirty="0" smtClean="0"/>
              <a:t> </a:t>
            </a:r>
            <a:r>
              <a:rPr lang="fr-FR" dirty="0" err="1" smtClean="0"/>
              <a:t>is</a:t>
            </a:r>
            <a:r>
              <a:rPr lang="fr-FR" dirty="0" smtClean="0"/>
              <a:t> 39 </a:t>
            </a:r>
            <a:r>
              <a:rPr lang="fr-FR" dirty="0" err="1" smtClean="0"/>
              <a:t>libraries</a:t>
            </a:r>
            <a:r>
              <a:rPr lang="fr-FR" dirty="0" smtClean="0"/>
              <a:t>)</a:t>
            </a:r>
          </a:p>
          <a:p>
            <a:pPr marL="171450" indent="-171450">
              <a:buFont typeface="Arial"/>
              <a:buChar char="•"/>
            </a:pPr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7A2DC3-F03F-46CD-AF45-C9773EAE9721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34118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Diakép helye 1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Jegyzetek helye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altLang="hu-HU" smtClean="0">
              <a:cs typeface="Arial" panose="020B0604020202020204" pitchFamily="34" charset="0"/>
            </a:endParaRPr>
          </a:p>
        </p:txBody>
      </p:sp>
      <p:sp>
        <p:nvSpPr>
          <p:cNvPr id="4" name="Dátum helye 3"/>
          <p:cNvSpPr>
            <a:spLocks noGrp="1"/>
          </p:cNvSpPr>
          <p:nvPr>
            <p:ph type="dt" sz="quarter" idx="1"/>
          </p:nvPr>
        </p:nvSpPr>
        <p:spPr>
          <a:xfrm>
            <a:off x="5089525" y="9358313"/>
            <a:ext cx="1101725" cy="28098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4"/>
          </p:nvPr>
        </p:nvSpPr>
        <p:spPr>
          <a:xfrm>
            <a:off x="471488" y="9358313"/>
            <a:ext cx="4481512" cy="28098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eaLnBrk="1" hangingPunct="1"/>
            <a:fld id="{DD3FF739-8A83-49DF-9026-66E2F326F958}" type="slidenum">
              <a:rPr lang="de-DE" altLang="hu-HU">
                <a:solidFill>
                  <a:schemeClr val="tx1"/>
                </a:solidFill>
                <a:latin typeface="Tele-GroteskNor" pitchFamily="2" charset="0"/>
              </a:rPr>
              <a:pPr eaLnBrk="1" hangingPunct="1"/>
              <a:t>19</a:t>
            </a:fld>
            <a:endParaRPr lang="de-DE" altLang="hu-HU">
              <a:solidFill>
                <a:schemeClr val="tx1"/>
              </a:solidFill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5249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796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9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000" y="1512000"/>
            <a:ext cx="9366613" cy="255866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800" dirty="0" smtClean="0">
                <a:latin typeface="TeleGrotesk Headline" pitchFamily="2" charset="0"/>
              </a:rPr>
              <a:t>Maximum of 3 lines</a:t>
            </a:r>
            <a:br>
              <a:rPr lang="en-US" sz="4800" dirty="0" smtClean="0">
                <a:latin typeface="TeleGrotesk Headline" pitchFamily="2" charset="0"/>
              </a:rPr>
            </a:br>
            <a:r>
              <a:rPr lang="en-US" sz="48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61950" y="4505418"/>
            <a:ext cx="9364663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black">
          <a:xfrm>
            <a:off x="360000" y="6678000"/>
            <a:ext cx="3606868" cy="6551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240067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99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6" y="140"/>
            <a:ext cx="10076750" cy="7559619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01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7" y="140"/>
            <a:ext cx="10076748" cy="755961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852118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44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1937" y="1"/>
            <a:ext cx="10078941" cy="7561263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3960000"/>
            <a:ext cx="9360000" cy="2486908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8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080625" cy="7561263"/>
          </a:xfrm>
        </p:spPr>
        <p:txBody>
          <a:bodyPr/>
          <a:lstStyle/>
          <a:p>
            <a:r>
              <a:rPr lang="hu-HU" smtClean="0"/>
              <a:t>Kép beszúrásához kattintson az ikonra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5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88000"/>
            <a:ext cx="4607288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112000" y="1"/>
            <a:ext cx="4968000" cy="7561263"/>
          </a:xfrm>
        </p:spPr>
        <p:txBody>
          <a:bodyPr/>
          <a:lstStyle/>
          <a:p>
            <a:r>
              <a:rPr lang="hu-HU" smtClean="0"/>
              <a:t>Kép beszúrásához kattintson az ikonra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1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12000" y="288000"/>
            <a:ext cx="4610100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112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968000" cy="7561263"/>
          </a:xfrm>
        </p:spPr>
        <p:txBody>
          <a:bodyPr/>
          <a:lstStyle/>
          <a:p>
            <a:r>
              <a:rPr lang="hu-HU" smtClean="0"/>
              <a:t>Kép beszúrásához kattintson az ikonra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06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08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6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60000" y="1620000"/>
            <a:ext cx="9360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8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47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60000" y="3560510"/>
            <a:ext cx="9359901" cy="259549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60000" y="2269846"/>
            <a:ext cx="9034573" cy="388615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3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60000" y="2631232"/>
            <a:ext cx="8697256" cy="3524768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346000"/>
            <a:ext cx="84237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0000" y="6678000"/>
            <a:ext cx="3606868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9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713798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537874" y="1620000"/>
            <a:ext cx="3008152" cy="489600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1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4896000"/>
          </a:xfrm>
        </p:spPr>
        <p:txBody>
          <a:bodyPr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80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37378" y="1620000"/>
            <a:ext cx="2232000" cy="48960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23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46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4608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48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021" cy="5306263"/>
          </a:xfrm>
        </p:spPr>
        <p:txBody>
          <a:bodyPr/>
          <a:lstStyle>
            <a:lvl1pPr>
              <a:defRPr sz="1400"/>
            </a:lvl1pPr>
            <a:lvl2pPr>
              <a:defRPr sz="1400" baseline="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53793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71392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baseline="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51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736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6" descr="OCLC_H_PMS.eps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80637" y="6998533"/>
            <a:ext cx="797539" cy="353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0240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68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6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0" r="1307"/>
          <a:stretch/>
        </p:blipFill>
        <p:spPr bwMode="auto">
          <a:xfrm>
            <a:off x="0" y="0"/>
            <a:ext cx="10080000" cy="7560000"/>
          </a:xfrm>
          <a:prstGeom prst="rect">
            <a:avLst/>
          </a:prstGeom>
          <a:noFill/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61483" y="3441654"/>
            <a:ext cx="9365545" cy="3762108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61950" y="3734323"/>
            <a:ext cx="7980841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1950" y="5708745"/>
            <a:ext cx="7980841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Grafik 27" descr="TSY_Logo_3c_p.emf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539823" y="6501629"/>
            <a:ext cx="3606868" cy="655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734722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9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19"/>
          <p:cNvPicPr preferRelativeResize="0"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38889"/>
          <a:stretch/>
        </p:blipFill>
        <p:spPr bwMode="gray">
          <a:xfrm>
            <a:off x="360000" y="360000"/>
            <a:ext cx="9360000" cy="3817553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gray">
          <a:xfrm>
            <a:off x="360000" y="3660229"/>
            <a:ext cx="9360000" cy="53532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60000" y="4017731"/>
            <a:ext cx="9360000" cy="2138269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60000" y="5345957"/>
            <a:ext cx="9366613" cy="384080"/>
          </a:xfrm>
        </p:spPr>
        <p:txBody>
          <a:bodyPr wrap="square"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Grafik 22" descr="TSY_Logo_3c_p.em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60000" y="6678000"/>
            <a:ext cx="3606868" cy="6552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802868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87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7272326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89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1937" y="821"/>
            <a:ext cx="10076751" cy="7559620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964844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92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842" y="1"/>
            <a:ext cx="10078941" cy="7561263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</a:t>
            </a: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6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7" y="140"/>
            <a:ext cx="10076747" cy="755961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96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– Strictly confidential, Confidential, Internal–     Author /Presentation Topic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5" y="141"/>
            <a:ext cx="10076751" cy="7559620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9032655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14" name="think-cell Folie" r:id="rId29" imgW="360" imgH="360" progId="TCLayout.ActiveDocument.1">
                  <p:embed/>
                </p:oleObj>
              </mc:Choice>
              <mc:Fallback>
                <p:oleObj name="think-cell Folie" r:id="rId29" imgW="360" imgH="360" progId="TCLayout.ActiveDocument.1">
                  <p:embed/>
                  <p:pic>
                    <p:nvPicPr>
                      <p:cNvPr id="0" name="Picture 3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60001" y="288000"/>
            <a:ext cx="9359999" cy="58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620000"/>
            <a:ext cx="9360000" cy="489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439150" y="6980111"/>
            <a:ext cx="902850" cy="320455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 smtClean="0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407166" y="6980111"/>
            <a:ext cx="319447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816351" y="6980111"/>
            <a:ext cx="4539600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 smtClean="0"/>
              <a:t>– Strictly confidential, Confidential, Internal–     Author /Presentation Topic</a:t>
            </a:r>
          </a:p>
        </p:txBody>
      </p:sp>
      <p:pic>
        <p:nvPicPr>
          <p:cNvPr id="22" name="Grafik 21" descr="TSY_Logo_3c_p.emf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60000" y="6919200"/>
            <a:ext cx="2873604" cy="522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  <p:sldLayoutId id="2147483978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://lccn.loc.gov/n79034525" TargetMode="External"/><Relationship Id="rId3" Type="http://schemas.openxmlformats.org/officeDocument/2006/relationships/image" Target="../media/image29.PNG"/><Relationship Id="rId7" Type="http://schemas.openxmlformats.org/officeDocument/2006/relationships/hyperlink" Target="https://hu.wikipedia.org/wiki/Kongresszusi_K%C3%B6nyvt%C3%A1r" TargetMode="External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6" Type="http://schemas.openxmlformats.org/officeDocument/2006/relationships/hyperlink" Target="http://viaf.org/viaf/24604287" TargetMode="External"/><Relationship Id="rId5" Type="http://schemas.openxmlformats.org/officeDocument/2006/relationships/hyperlink" Target="https://hu.wikipedia.org/wiki/Nemzetk%C3%B6zi_Virtu%C3%A1lis_Katal%C3%B3gust%C3%A1r" TargetMode="External"/><Relationship Id="rId10" Type="http://schemas.openxmlformats.org/officeDocument/2006/relationships/hyperlink" Target="http://isni.org/isni/000000012124423X" TargetMode="External"/><Relationship Id="rId4" Type="http://schemas.openxmlformats.org/officeDocument/2006/relationships/hyperlink" Target="http://www.worldcat.org/identities/lccn-n79-034525" TargetMode="External"/><Relationship Id="rId9" Type="http://schemas.openxmlformats.org/officeDocument/2006/relationships/hyperlink" Target="https://hu.wikipedia.org/wiki/Nemzetk%C3%B6zi_Szabv%C3%A1nyos_N%C3%A9vazonos%C3%ADt%C3%B3" TargetMode="Externa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wmf"/><Relationship Id="rId13" Type="http://schemas.openxmlformats.org/officeDocument/2006/relationships/image" Target="../media/image41.png"/><Relationship Id="rId18" Type="http://schemas.openxmlformats.org/officeDocument/2006/relationships/image" Target="../media/image46.png"/><Relationship Id="rId26" Type="http://schemas.openxmlformats.org/officeDocument/2006/relationships/image" Target="../media/image53.png"/><Relationship Id="rId39" Type="http://schemas.openxmlformats.org/officeDocument/2006/relationships/image" Target="../media/image63.tiff"/><Relationship Id="rId3" Type="http://schemas.openxmlformats.org/officeDocument/2006/relationships/image" Target="../media/image32.png"/><Relationship Id="rId21" Type="http://schemas.openxmlformats.org/officeDocument/2006/relationships/image" Target="../media/image49.png"/><Relationship Id="rId34" Type="http://schemas.openxmlformats.org/officeDocument/2006/relationships/hyperlink" Target="http://outgoing.typepad.com/.a/6a00d83459bf2269e201538f8013bf970b-pi" TargetMode="External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5" Type="http://schemas.microsoft.com/office/2007/relationships/hdphoto" Target="../media/hdphoto1.wdp"/><Relationship Id="rId33" Type="http://schemas.microsoft.com/office/2007/relationships/hdphoto" Target="../media/hdphoto3.wdp"/><Relationship Id="rId38" Type="http://schemas.openxmlformats.org/officeDocument/2006/relationships/image" Target="../media/image62.tiff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44.png"/><Relationship Id="rId20" Type="http://schemas.openxmlformats.org/officeDocument/2006/relationships/image" Target="../media/image48.png"/><Relationship Id="rId29" Type="http://schemas.openxmlformats.org/officeDocument/2006/relationships/image" Target="../media/image56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4.jpeg"/><Relationship Id="rId11" Type="http://schemas.openxmlformats.org/officeDocument/2006/relationships/image" Target="../media/image39.png"/><Relationship Id="rId24" Type="http://schemas.openxmlformats.org/officeDocument/2006/relationships/image" Target="../media/image52.png"/><Relationship Id="rId32" Type="http://schemas.openxmlformats.org/officeDocument/2006/relationships/image" Target="../media/image58.jpeg"/><Relationship Id="rId37" Type="http://schemas.openxmlformats.org/officeDocument/2006/relationships/image" Target="../media/image61.tiff"/><Relationship Id="rId5" Type="http://schemas.openxmlformats.org/officeDocument/2006/relationships/image" Target="../media/image33.png"/><Relationship Id="rId15" Type="http://schemas.openxmlformats.org/officeDocument/2006/relationships/image" Target="../media/image43.png"/><Relationship Id="rId23" Type="http://schemas.openxmlformats.org/officeDocument/2006/relationships/image" Target="../media/image51.png"/><Relationship Id="rId28" Type="http://schemas.openxmlformats.org/officeDocument/2006/relationships/image" Target="../media/image55.png"/><Relationship Id="rId36" Type="http://schemas.openxmlformats.org/officeDocument/2006/relationships/image" Target="../media/image60.png"/><Relationship Id="rId10" Type="http://schemas.openxmlformats.org/officeDocument/2006/relationships/image" Target="../media/image38.png"/><Relationship Id="rId19" Type="http://schemas.openxmlformats.org/officeDocument/2006/relationships/image" Target="../media/image47.png"/><Relationship Id="rId31" Type="http://schemas.microsoft.com/office/2007/relationships/hdphoto" Target="../media/hdphoto2.wdp"/><Relationship Id="rId4" Type="http://schemas.openxmlformats.org/officeDocument/2006/relationships/hyperlink" Target="http://www.bowker.com/" TargetMode="External"/><Relationship Id="rId9" Type="http://schemas.openxmlformats.org/officeDocument/2006/relationships/image" Target="../media/image37.png"/><Relationship Id="rId14" Type="http://schemas.openxmlformats.org/officeDocument/2006/relationships/image" Target="../media/image42.png"/><Relationship Id="rId22" Type="http://schemas.openxmlformats.org/officeDocument/2006/relationships/image" Target="../media/image50.png"/><Relationship Id="rId27" Type="http://schemas.openxmlformats.org/officeDocument/2006/relationships/image" Target="../media/image54.jpeg"/><Relationship Id="rId30" Type="http://schemas.openxmlformats.org/officeDocument/2006/relationships/image" Target="../media/image57.png"/><Relationship Id="rId35" Type="http://schemas.openxmlformats.org/officeDocument/2006/relationships/image" Target="../media/image59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Harvard" TargetMode="External"/><Relationship Id="rId2" Type="http://schemas.openxmlformats.org/officeDocument/2006/relationships/hyperlink" Target="https://en.wikipedia.org/wiki/Stanford" TargetMode="External"/><Relationship Id="rId1" Type="http://schemas.openxmlformats.org/officeDocument/2006/relationships/slideLayout" Target="../slideLayouts/slideLayout18.xml"/><Relationship Id="rId4" Type="http://schemas.openxmlformats.org/officeDocument/2006/relationships/hyperlink" Target="https://en.wikipedia.org/wiki/Massachusetts_Institute_of_Technology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8.xml"/><Relationship Id="rId5" Type="http://schemas.openxmlformats.org/officeDocument/2006/relationships/hyperlink" Target="http://www.slideshare.net/gsiemens/designing-and-running-a-mooc" TargetMode="External"/><Relationship Id="rId4" Type="http://schemas.openxmlformats.org/officeDocument/2006/relationships/hyperlink" Target="http://www.slideshare.net/Paul_Stacey/uct-pedagogyof-moocs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gif"/><Relationship Id="rId2" Type="http://schemas.openxmlformats.org/officeDocument/2006/relationships/hyperlink" Target="https://www.google.hu/imgres?imgurl=http://ruben.verborgh.org/images/blog/boring.jpg&amp;imgrefurl=http://ruben.verborgh.org/blog/2014/12/31/thank-you-for-your-attention/&amp;docid=zUon4W4fBtyDaM&amp;tbnid=ygYAp2Bf4-JIHM:&amp;w=1280&amp;h=768&amp;bih=667&amp;biw=1366&amp;ved=0ahUKEwj3mKK7td_NAhXENxQKHe7SBCEQMwglKAgwCA&amp;iact=mrc&amp;uact=8" TargetMode="Externa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70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oclc.org/news/announcements/2010/announcement425.htm" TargetMode="External"/><Relationship Id="rId3" Type="http://schemas.openxmlformats.org/officeDocument/2006/relationships/image" Target="../media/image21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3.png"/><Relationship Id="rId11" Type="http://schemas.openxmlformats.org/officeDocument/2006/relationships/image" Target="../media/image27.jpeg"/><Relationship Id="rId5" Type="http://schemas.openxmlformats.org/officeDocument/2006/relationships/image" Target="../media/image22.png"/><Relationship Id="rId10" Type="http://schemas.openxmlformats.org/officeDocument/2006/relationships/image" Target="../media/image26.png"/><Relationship Id="rId4" Type="http://schemas.openxmlformats.org/officeDocument/2006/relationships/hyperlink" Target="http://opencontext.org/subjects/13864_DT_Spatial" TargetMode="External"/><Relationship Id="rId9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b="1" i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b="1" i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360000" y="3328542"/>
            <a:ext cx="9364663" cy="742191"/>
          </a:xfrm>
        </p:spPr>
        <p:txBody>
          <a:bodyPr/>
          <a:lstStyle/>
          <a:p>
            <a:pPr algn="ctr"/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Minőségi koncentráció a könyvtárak, </a:t>
            </a:r>
          </a:p>
          <a:p>
            <a:pPr algn="ctr"/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a tudományok és a használók kölcsönhatásában</a:t>
            </a:r>
            <a:endParaRPr lang="hu-HU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églalap 3"/>
          <p:cNvSpPr/>
          <p:nvPr/>
        </p:nvSpPr>
        <p:spPr>
          <a:xfrm>
            <a:off x="1418291" y="1204884"/>
            <a:ext cx="664994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igitális hálózat dinamikus tágulása</a:t>
            </a:r>
          </a:p>
          <a:p>
            <a:pPr algn="ctr"/>
            <a:r>
              <a:rPr lang="hu-HU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4318597" y="6142150"/>
            <a:ext cx="5747611" cy="1303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hu-HU" sz="200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jlesztés, fenntarthatóság, esély </a:t>
            </a:r>
            <a:endParaRPr lang="hu-HU" sz="2000" b="1" dirty="0" smtClean="0">
              <a:solidFill>
                <a:schemeClr val="accent3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hu-HU" sz="2000" b="1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200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LA trendek és a Lyoni deklaráció </a:t>
            </a:r>
            <a:r>
              <a:rPr lang="hu-HU" sz="2000" b="1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ükrében - Konferenciasorozat</a:t>
            </a:r>
          </a:p>
          <a:p>
            <a:pPr algn="ctr"/>
            <a:r>
              <a:rPr lang="hu-HU" sz="2000" b="1" dirty="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OSZK-2016.11.22.</a:t>
            </a:r>
          </a:p>
        </p:txBody>
      </p:sp>
      <p:pic>
        <p:nvPicPr>
          <p:cNvPr id="6" name="Tartalom hely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6843" y="-28805"/>
            <a:ext cx="1879365" cy="2907936"/>
          </a:xfrm>
          <a:prstGeom prst="rect">
            <a:avLst/>
          </a:prstGeom>
        </p:spPr>
      </p:pic>
      <p:sp>
        <p:nvSpPr>
          <p:cNvPr id="7" name="Szövegdoboz 6"/>
          <p:cNvSpPr txBox="1"/>
          <p:nvPr/>
        </p:nvSpPr>
        <p:spPr>
          <a:xfrm>
            <a:off x="360000" y="6142150"/>
            <a:ext cx="3771733" cy="34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ea typeface="Swagger" pitchFamily="2" charset="0"/>
              </a:rPr>
              <a:t>Horváth Zoltánné</a:t>
            </a:r>
          </a:p>
        </p:txBody>
      </p:sp>
    </p:spTree>
    <p:extLst>
      <p:ext uri="{BB962C8B-B14F-4D97-AF65-F5344CB8AC3E}">
        <p14:creationId xmlns:p14="http://schemas.microsoft.com/office/powerpoint/2010/main" val="83454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ép helye 1"/>
          <p:cNvSpPr>
            <a:spLocks noGrp="1"/>
          </p:cNvSpPr>
          <p:nvPr>
            <p:ph type="pic" sz="quarter" idx="13"/>
          </p:nvPr>
        </p:nvSpPr>
        <p:spPr>
          <a:xfrm>
            <a:off x="211016" y="228600"/>
            <a:ext cx="10080625" cy="7561263"/>
          </a:xfrm>
        </p:spPr>
      </p:sp>
      <p:sp>
        <p:nvSpPr>
          <p:cNvPr id="3" name="Dia számának helye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0</a:t>
            </a:fld>
            <a:endParaRPr lang="en-US" dirty="0"/>
          </a:p>
        </p:txBody>
      </p:sp>
      <p:pic>
        <p:nvPicPr>
          <p:cNvPr id="5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7863840" cy="62248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7290" y="565332"/>
            <a:ext cx="5332523" cy="54843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Szövegdoboz 12"/>
          <p:cNvSpPr txBox="1"/>
          <p:nvPr/>
        </p:nvSpPr>
        <p:spPr>
          <a:xfrm>
            <a:off x="0" y="6316659"/>
            <a:ext cx="5450597" cy="676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hu-HU" sz="1800" dirty="0" err="1" smtClean="0">
                <a:hlinkClick r:id="rId4"/>
              </a:rPr>
              <a:t>WorldCat</a:t>
            </a:r>
            <a:r>
              <a:rPr lang="hu-HU" sz="1800" dirty="0" smtClean="0"/>
              <a:t> </a:t>
            </a:r>
            <a:r>
              <a:rPr lang="hu-HU" sz="1800" dirty="0" smtClean="0">
                <a:hlinkClick r:id="rId5" tooltip="Nemzetközi Virtuális Katalógustár"/>
              </a:rPr>
              <a:t>VIAF</a:t>
            </a:r>
            <a:r>
              <a:rPr lang="hu-HU" sz="1800" dirty="0"/>
              <a:t>: </a:t>
            </a:r>
            <a:r>
              <a:rPr lang="hu-HU" sz="1800" dirty="0" smtClean="0">
                <a:hlinkClick r:id="rId6"/>
              </a:rPr>
              <a:t>24604287</a:t>
            </a:r>
            <a:r>
              <a:rPr lang="hu-HU" sz="1800" dirty="0" smtClean="0"/>
              <a:t>, </a:t>
            </a:r>
            <a:r>
              <a:rPr lang="hu-HU" sz="1800" dirty="0" smtClean="0">
                <a:hlinkClick r:id="rId7" tooltip="Kongresszusi Könyvtár"/>
              </a:rPr>
              <a:t>LCCN</a:t>
            </a:r>
            <a:r>
              <a:rPr lang="hu-HU" sz="1800" dirty="0"/>
              <a:t>: </a:t>
            </a:r>
            <a:r>
              <a:rPr lang="hu-HU" sz="1800" dirty="0" smtClean="0">
                <a:hlinkClick r:id="rId8"/>
              </a:rPr>
              <a:t>n79034525</a:t>
            </a:r>
            <a:r>
              <a:rPr lang="hu-HU" sz="1800" dirty="0" smtClean="0"/>
              <a:t>, </a:t>
            </a:r>
            <a:r>
              <a:rPr lang="hu-HU" sz="1800" dirty="0" smtClean="0">
                <a:hlinkClick r:id="rId9" tooltip="Nemzetközi Szabványos Névazonosító"/>
              </a:rPr>
              <a:t>ISNI</a:t>
            </a:r>
            <a:r>
              <a:rPr lang="hu-HU" sz="1800" dirty="0"/>
              <a:t>: </a:t>
            </a:r>
            <a:r>
              <a:rPr lang="hu-HU" sz="1800" dirty="0">
                <a:hlinkClick r:id="rId10"/>
              </a:rPr>
              <a:t>0000 0001 2124 423X</a:t>
            </a:r>
            <a:endParaRPr lang="hu-HU" sz="1800" dirty="0"/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ea typeface="Swagger" pitchFamily="2" charset="0"/>
              </a:rPr>
              <a:t>.</a:t>
            </a:r>
          </a:p>
        </p:txBody>
      </p:sp>
      <p:sp>
        <p:nvSpPr>
          <p:cNvPr id="11" name="Szövegdoboz 10"/>
          <p:cNvSpPr txBox="1"/>
          <p:nvPr/>
        </p:nvSpPr>
        <p:spPr>
          <a:xfrm>
            <a:off x="6283792" y="6224883"/>
            <a:ext cx="3961956" cy="123026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hu-H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Beépített tudáskártya „</a:t>
            </a:r>
            <a:r>
              <a:rPr lang="hu-HU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Knowlrdge</a:t>
            </a:r>
            <a:r>
              <a:rPr lang="hu-H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rd</a:t>
            </a:r>
            <a:r>
              <a:rPr lang="hu-H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” összesített szerzői információk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 smtClean="0">
              <a:ea typeface="Swagger" pitchFamily="2" charset="0"/>
            </a:endParaRPr>
          </a:p>
        </p:txBody>
      </p:sp>
      <p:sp>
        <p:nvSpPr>
          <p:cNvPr id="4" name="Felfelé nyíl 3"/>
          <p:cNvSpPr/>
          <p:nvPr/>
        </p:nvSpPr>
        <p:spPr bwMode="gray">
          <a:xfrm>
            <a:off x="8665699" y="5683936"/>
            <a:ext cx="1446406" cy="731520"/>
          </a:xfrm>
          <a:prstGeom prst="up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2433711" y="4248443"/>
            <a:ext cx="2743200" cy="18012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MARC alapú rekordok beépített tudáskártyával, publikációs gyakoriság ábrával, rekordból indítható funkciókkal, </a:t>
            </a:r>
            <a:r>
              <a:rPr lang="hu-HU" sz="1800" dirty="0" err="1" smtClean="0"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Google</a:t>
            </a:r>
            <a:r>
              <a:rPr lang="hu-HU" sz="1800" dirty="0" smtClean="0"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kapcsolattal</a:t>
            </a:r>
          </a:p>
        </p:txBody>
      </p:sp>
      <p:cxnSp>
        <p:nvCxnSpPr>
          <p:cNvPr id="9" name="Egyenes összekötő nyíllal 8"/>
          <p:cNvCxnSpPr/>
          <p:nvPr/>
        </p:nvCxnSpPr>
        <p:spPr>
          <a:xfrm flipV="1">
            <a:off x="4846576" y="3307514"/>
            <a:ext cx="3819123" cy="1405164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zövegdoboz 11"/>
          <p:cNvSpPr txBox="1"/>
          <p:nvPr/>
        </p:nvSpPr>
        <p:spPr>
          <a:xfrm>
            <a:off x="211015" y="6742508"/>
            <a:ext cx="4220307" cy="6488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err="1" smtClean="0"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Authority</a:t>
            </a:r>
            <a:r>
              <a:rPr lang="hu-HU" sz="1800" dirty="0" smtClean="0"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adatok nemzetközi könyvtáraktól (OCLC, LC, BNC, stb.)</a:t>
            </a:r>
          </a:p>
        </p:txBody>
      </p:sp>
      <p:cxnSp>
        <p:nvCxnSpPr>
          <p:cNvPr id="15" name="Egyenes összekötő nyíllal 14"/>
          <p:cNvCxnSpPr/>
          <p:nvPr/>
        </p:nvCxnSpPr>
        <p:spPr>
          <a:xfrm flipH="1" flipV="1">
            <a:off x="2236763" y="3967089"/>
            <a:ext cx="337625" cy="1026942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761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Változásmenedzsment, mint könyvtári életforma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60000" y="1132398"/>
            <a:ext cx="9360000" cy="543721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álózati jellegű digitális kultúra</a:t>
            </a:r>
            <a:r>
              <a:rPr lang="hu-H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örnyezetében a könyvtári folyamatok újratervezésének, transzformációjának, a könyvtárak </a:t>
            </a:r>
            <a:r>
              <a:rPr lang="hu-H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rapozícionálásának és szerepmódosításainak</a:t>
            </a:r>
            <a:r>
              <a:rPr lang="hu-H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génye hangsúlyosan jelenik meg az </a:t>
            </a:r>
            <a:r>
              <a:rPr lang="hu-H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LA trendekb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új </a:t>
            </a:r>
            <a:r>
              <a:rPr lang="hu-H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ációs és kooperatív könyvtári informatikai eszközök </a:t>
            </a:r>
            <a:r>
              <a:rPr lang="hu-H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alakítása során számos tényezővel kell számolnunk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énybe vevők módosult szokásai és igényei, generációs eltérése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chnológia függés és humán kompetenciák változásai és fejleszté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galmas stratégia a környezetnek megfelelő víziók és missziók hátterév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rvezet aktuális </a:t>
            </a:r>
            <a:r>
              <a:rPr lang="hu-H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llapota és az elérni </a:t>
            </a:r>
            <a:r>
              <a:rPr lang="hu-H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ívánt - ideális - állapot főbb </a:t>
            </a:r>
            <a:r>
              <a:rPr lang="hu-H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lemző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elekvési tervek és erőforrás tervezé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tékelési szempontok, számokkal és minőségi célokkal, időtervvel</a:t>
            </a:r>
          </a:p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jektszemlélet a vertikális és horizontális fejlesztési modelleknél</a:t>
            </a:r>
          </a:p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kafolyamatokba építhető megújulási eljárások, </a:t>
            </a:r>
            <a:r>
              <a:rPr lang="hu-HU" sz="20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-learning</a:t>
            </a:r>
            <a:r>
              <a:rPr lang="hu-HU" sz="2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ódszerek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1730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45674" y="167830"/>
            <a:ext cx="9504233" cy="440349"/>
          </a:xfrm>
        </p:spPr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Transzformációt generáló külső, társadalmi hatások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32974" y="949264"/>
            <a:ext cx="9616933" cy="6449162"/>
          </a:xfrm>
          <a:solidFill>
            <a:schemeClr val="bg1"/>
          </a:solidFill>
        </p:spPr>
        <p:txBody>
          <a:bodyPr/>
          <a:lstStyle/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ÜLSŐ KÖRNYEZET 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TÁSA  </a:t>
            </a:r>
            <a:r>
              <a:rPr lang="hu-HU" sz="20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ergencia, mobilitás, változékonyság, gyorsulás, növekedés, vizualitás, új technológiák, új használói igények, „CLOUD”, „OPEN”</a:t>
            </a:r>
          </a:p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GY KÖNYVTÁRI INTÉZMÉNYEK és szoftvereik </a:t>
            </a:r>
          </a:p>
          <a:p>
            <a:pPr marL="499510" lvl="2" indent="-283510">
              <a:buFont typeface="Arial" panose="020B0604020202020204" pitchFamily="34" charset="0"/>
              <a:buChar char="•"/>
            </a:pPr>
            <a:r>
              <a:rPr lang="hu-HU" sz="1654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inancia, kooperációs technológiája - egy szélesebb ívű szolgáltatásrendszer kialakítása (OCLC, LC, </a:t>
            </a:r>
            <a:r>
              <a:rPr lang="hu-HU" sz="1654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quest</a:t>
            </a:r>
            <a:r>
              <a:rPr lang="hu-HU" sz="1654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tb.)</a:t>
            </a:r>
          </a:p>
          <a:p>
            <a:pPr marL="499510" lvl="2" indent="-283510">
              <a:buFont typeface="Arial" panose="020B0604020202020204" pitchFamily="34" charset="0"/>
              <a:buChar char="•"/>
            </a:pPr>
            <a:r>
              <a:rPr lang="hu-HU" sz="1654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zolgáltatások mérete és komplexitása nehezen követhető a kisebb vállalkozások számára</a:t>
            </a:r>
          </a:p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ZETI, EGYETEMI ÉS felsőoktatási könyvtárak nemzetközi trendjei</a:t>
            </a:r>
          </a:p>
          <a:p>
            <a:pPr marL="499510" lvl="2" indent="-283510">
              <a:buFont typeface="Arial" panose="020B0604020202020204" pitchFamily="34" charset="0"/>
              <a:buChar char="•"/>
            </a:pPr>
            <a:r>
              <a:rPr lang="hu-HU" sz="1654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ségesség mellett országok és régiók szerinti eltérő szabályozások és gyakorlatok</a:t>
            </a:r>
          </a:p>
          <a:p>
            <a:pPr marL="480720" lvl="2" indent="-283510">
              <a:buFont typeface="Arial" panose="020B0604020202020204" pitchFamily="34" charset="0"/>
              <a:buChar char="•"/>
            </a:pPr>
            <a:endParaRPr lang="hu-HU" sz="66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ZKÖNYVTÁR társadalmi beépülése és szociális szerepvállalásai</a:t>
            </a:r>
          </a:p>
          <a:p>
            <a:pPr marL="501750" lvl="3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kolán kívüli szervezett és akkreditált képzések</a:t>
            </a:r>
          </a:p>
          <a:p>
            <a:pPr marL="501750" lvl="3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ektuális képzés, személyes </a:t>
            </a:r>
            <a:r>
              <a:rPr lang="hu-HU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álás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kiscsoportos szocializálás</a:t>
            </a:r>
          </a:p>
          <a:p>
            <a:pPr marL="501750" lvl="3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llampolgári gyakorlat támogatása</a:t>
            </a:r>
          </a:p>
          <a:p>
            <a:pPr marL="501750" lvl="3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ógiai </a:t>
            </a:r>
            <a:r>
              <a:rPr lang="hu-HU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álás</a:t>
            </a:r>
            <a:endParaRPr lang="hu-HU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01750" lvl="3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letvezetés információs támogatása, generációs csoportok fejlesztése, </a:t>
            </a:r>
            <a:r>
              <a:rPr lang="hu-HU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ach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tb</a:t>
            </a:r>
            <a:r>
              <a:rPr lang="hu-HU" sz="1654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ÁLIS SZAKKÖNYVTÁRAK - egyedi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vetelményei és technológiái, szakterületi tudományos trendek</a:t>
            </a:r>
          </a:p>
          <a:p>
            <a:pPr marL="538163" lvl="3" indent="-274638">
              <a:buFont typeface="Arial" panose="020B0604020202020204" pitchFamily="34" charset="0"/>
              <a:buChar char="•"/>
              <a:tabLst>
                <a:tab pos="538163" algn="l"/>
              </a:tabLst>
            </a:pPr>
            <a:r>
              <a:rPr lang="hu-H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állalati, jogi, orvosi, stb. szakmai </a:t>
            </a:r>
            <a:r>
              <a:rPr lang="hu-H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várások, individuális </a:t>
            </a:r>
            <a:r>
              <a:rPr lang="hu-H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ányítási szisztémák, zárt tartalmak, szakterületi ontológia</a:t>
            </a:r>
          </a:p>
          <a:p>
            <a:endParaRPr lang="hu-H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515583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Könyvtárak újrapozícionálása, szerepmódosítások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3</a:t>
            </a:fld>
            <a:endParaRPr lang="en-US" dirty="0"/>
          </a:p>
        </p:txBody>
      </p:sp>
      <p:sp>
        <p:nvSpPr>
          <p:cNvPr id="5" name="Szövegdoboz 4"/>
          <p:cNvSpPr txBox="1"/>
          <p:nvPr/>
        </p:nvSpPr>
        <p:spPr>
          <a:xfrm>
            <a:off x="216563" y="1012888"/>
            <a:ext cx="6395252" cy="442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400" b="1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ért van szükség </a:t>
            </a:r>
            <a:r>
              <a:rPr lang="hu-HU" sz="2400" b="1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rapozícionálásra?</a:t>
            </a:r>
            <a:endParaRPr lang="hu-HU" sz="2400" b="1" u="sng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216563" y="1585688"/>
            <a:ext cx="9510049" cy="51664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akról kialakult társadalmi összkép maradi és szegény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álózati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rások könyvtári eredete és kapcsolata nem kellően 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me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nyvtár, mint a modern informatikai technológia adaptálója, terjesztője és mentora egyre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sszetettebb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oldási követelményekkel szembesül, amelyek kikényszerítik a feladatok és szerepek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zformálásá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hu-HU" sz="9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258763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mélyes 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elkezésre állás, mint speciális könyvtári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repadottság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hetőség a nem formális tanulás támogatására   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endParaRPr lang="hu-HU" sz="1000" b="1" dirty="0"/>
          </a:p>
          <a:p>
            <a:pPr marL="266700" lvl="1" indent="-266700">
              <a:buFont typeface="Arial" panose="020B0604020202020204" pitchFamily="34" charset="0"/>
              <a:buChar char="•"/>
            </a:pPr>
            <a:r>
              <a:rPr lang="hu-HU" sz="1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yoni Nyilatkozat az ENSZ előtt: </a:t>
            </a:r>
            <a:r>
              <a:rPr lang="hu-HU" sz="1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Donna </a:t>
            </a:r>
            <a:r>
              <a:rPr lang="hu-HU" sz="180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eeder</a:t>
            </a:r>
            <a:r>
              <a:rPr lang="hu-HU" sz="1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nntartható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jlődési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élok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s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DG) megvalósításában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nyvtáraknak kiemelt szerepe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het a megnövekedett információs igények kielégítésével</a:t>
            </a:r>
            <a:r>
              <a:rPr lang="hu-HU" sz="16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Baráthné Hajdú Ágnes közlése - </a:t>
            </a:r>
            <a:r>
              <a:rPr lang="hu-HU" sz="16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magazin</a:t>
            </a:r>
            <a:r>
              <a:rPr lang="hu-HU" sz="16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endParaRPr lang="hu-HU" sz="16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éma és tudásalapú szolgáltatások iránti igények, tudásmenedzsment </a:t>
            </a:r>
          </a:p>
          <a:p>
            <a:pPr marL="534988" lvl="1" indent="-268288">
              <a:buFont typeface="Arial" panose="020B0604020202020204" pitchFamily="34" charset="0"/>
              <a:buChar char="•"/>
            </a:pPr>
            <a:r>
              <a:rPr lang="hu-HU" sz="2000" i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virtuális </a:t>
            </a:r>
            <a:r>
              <a:rPr lang="hu-HU" sz="2000" i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szintetizált elektronikus forrásokra épülő, mobilizált </a:t>
            </a:r>
            <a:r>
              <a:rPr lang="hu-HU" sz="2000" i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olgáltatású könyvtár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éma- és tudásalapú, használói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oportok részére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lektált és koherens webes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olgáltatást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újt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hu-HU" sz="1800" b="1" dirty="0" smtClean="0">
              <a:solidFill>
                <a:schemeClr val="accent1">
                  <a:lumMod val="75000"/>
                </a:schemeClr>
              </a:solidFill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106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A könyvtár mint intellektuális tér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az önálló tanulás és felkészülés inspirálója</a:t>
            </a:r>
            <a:b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9999" y="1351058"/>
            <a:ext cx="9720625" cy="6064349"/>
          </a:xfrm>
          <a:solidFill>
            <a:schemeClr val="bg1"/>
          </a:solidFill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20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rd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a könyvtár mint kitüntetett közösségi 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y – közkönyvtári szerepek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sz="2000" u="sng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anulás és </a:t>
            </a:r>
            <a:r>
              <a:rPr lang="hu-HU" sz="2000" u="sng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lkészülés </a:t>
            </a:r>
            <a:r>
              <a:rPr lang="hu-HU" sz="2000" u="sng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 és növekvő információs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ógiák alapján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használó-centrikus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űködési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, tartós értékközvetítés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namikus viszony a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ársadalmi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rnyezethez: esélyegyelőség erősítése leszakadók felzárkóztatása, az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lethosszig tartó tanulás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ősegítése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u="sng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össégi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csolatteremtés, kulturális beállítottság, 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ektuális felkészüléshez források, rendszerek, szolgáltatások, oktatás és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álás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endParaRPr lang="hu-HU" sz="20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58900" lvl="2" indent="-342900"/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tatási és oktatási szakirodalmi információs és digitális rendszerek – tudományos könyvtárak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zciplína által meghatározott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építés és információs stratégia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émára és nem forrásra alapozott, szelektált, analitikus és szolgáltatási rendszer, részvétel a kutatásban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ációs rendszer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építése visszatükrözi az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ézmény és a szakterület tudományos jellegét, szakmai felépítését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övekvő intellektuális kompetenciák, technológiai inspirálás és </a:t>
            </a:r>
            <a:r>
              <a:rPr lang="hu-HU" sz="20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álás</a:t>
            </a:r>
            <a:endParaRPr lang="hu-HU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313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60001" y="294041"/>
            <a:ext cx="9360000" cy="1016616"/>
          </a:xfrm>
        </p:spPr>
        <p:txBody>
          <a:bodyPr/>
          <a:lstStyle/>
          <a:p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ibrary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 err="1">
                <a:latin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 a platform: egységesített 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infrastruktúra digitális könyvtári szolgáltatásokhoz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60000" y="1310657"/>
            <a:ext cx="9360000" cy="4896000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ézményi, területi, nemzeti vagy regionális digitális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kalmazás együttes és kapacitás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álózati együttműködés és kollaboráció céljára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oftveralkalmazások, a szociális média, a technológiai infrastruktúra, és a könyvtárosok tapasztalata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apján szolgál a könyvtári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talmak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olgáltatások egységes, színvonalas és hatékony 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ztosítására</a:t>
            </a:r>
            <a:endParaRPr lang="hu-HU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5</a:t>
            </a:fld>
            <a:endParaRPr lang="en-US" dirty="0"/>
          </a:p>
        </p:txBody>
      </p:sp>
      <p:pic>
        <p:nvPicPr>
          <p:cNvPr id="5" name="Kép 4"/>
          <p:cNvPicPr/>
          <p:nvPr/>
        </p:nvPicPr>
        <p:blipFill rotWithShape="1">
          <a:blip r:embed="rId2"/>
          <a:srcRect t="29621" r="24100" b="26837"/>
          <a:stretch/>
        </p:blipFill>
        <p:spPr bwMode="auto">
          <a:xfrm>
            <a:off x="547804" y="2968860"/>
            <a:ext cx="4415200" cy="151316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Kép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0228" y="3343457"/>
            <a:ext cx="4135126" cy="3093229"/>
          </a:xfrm>
          <a:prstGeom prst="rect">
            <a:avLst/>
          </a:prstGeom>
        </p:spPr>
      </p:pic>
      <p:sp>
        <p:nvSpPr>
          <p:cNvPr id="8" name="Szövegdoboz 7"/>
          <p:cNvSpPr txBox="1"/>
          <p:nvPr/>
        </p:nvSpPr>
        <p:spPr>
          <a:xfrm>
            <a:off x="90604" y="4552863"/>
            <a:ext cx="5091820" cy="1734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OCLC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Share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latform egy globális, web architektúrára </a:t>
            </a:r>
            <a:r>
              <a:rPr lang="hu-HU" sz="18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épített 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szer, </a:t>
            </a:r>
            <a:r>
              <a:rPr lang="hu-HU" sz="18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intű szolgáltatások </a:t>
            </a:r>
            <a:r>
              <a:rPr lang="hu-HU" sz="18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ztosítására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8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ak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fejlesztők és partnerek számára közös innovációs felület </a:t>
            </a:r>
            <a:r>
              <a:rPr lang="hu-HU" sz="18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pítésére alkalmas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8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zetközi kapcsolatok, </a:t>
            </a:r>
            <a:r>
              <a:rPr lang="hu-HU" sz="18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indikáció</a:t>
            </a:r>
            <a:r>
              <a:rPr lang="hu-H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hu-H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3790950" y="6585812"/>
            <a:ext cx="5819775" cy="975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jlesztések 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szolgáltatások megoszthatók </a:t>
            </a:r>
            <a:r>
              <a:rPr lang="hu-HU" sz="18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 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ös technológiai felületen </a:t>
            </a:r>
            <a:r>
              <a:rPr lang="hu-HU" sz="18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nyvtári 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össégek számára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 smtClean="0"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403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Cloud 52"/>
          <p:cNvSpPr/>
          <p:nvPr/>
        </p:nvSpPr>
        <p:spPr>
          <a:xfrm>
            <a:off x="455896" y="2947101"/>
            <a:ext cx="3095969" cy="1488447"/>
          </a:xfrm>
          <a:prstGeom prst="cloud">
            <a:avLst/>
          </a:prstGeom>
          <a:solidFill>
            <a:schemeClr val="bg1">
              <a:lumMod val="85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488"/>
          </a:p>
        </p:txBody>
      </p:sp>
      <p:sp>
        <p:nvSpPr>
          <p:cNvPr id="2" name="Étoile à 32 branches 1"/>
          <p:cNvSpPr/>
          <p:nvPr/>
        </p:nvSpPr>
        <p:spPr>
          <a:xfrm>
            <a:off x="2480184" y="2195751"/>
            <a:ext cx="5537021" cy="3810423"/>
          </a:xfrm>
          <a:prstGeom prst="star32">
            <a:avLst>
              <a:gd name="adj" fmla="val 0"/>
            </a:avLst>
          </a:prstGeom>
          <a:solidFill>
            <a:schemeClr val="accent1">
              <a:lumMod val="20000"/>
              <a:lumOff val="80000"/>
              <a:alpha val="62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88"/>
          </a:p>
        </p:txBody>
      </p:sp>
      <p:sp>
        <p:nvSpPr>
          <p:cNvPr id="53" name="Cloud 52"/>
          <p:cNvSpPr/>
          <p:nvPr/>
        </p:nvSpPr>
        <p:spPr>
          <a:xfrm>
            <a:off x="3373253" y="4495085"/>
            <a:ext cx="5597051" cy="2321977"/>
          </a:xfrm>
          <a:prstGeom prst="cloud">
            <a:avLst/>
          </a:prstGeom>
          <a:solidFill>
            <a:schemeClr val="bg1">
              <a:lumMod val="85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488"/>
          </a:p>
        </p:txBody>
      </p:sp>
      <p:sp>
        <p:nvSpPr>
          <p:cNvPr id="52" name="Cloud 51"/>
          <p:cNvSpPr/>
          <p:nvPr/>
        </p:nvSpPr>
        <p:spPr>
          <a:xfrm>
            <a:off x="6469714" y="2947101"/>
            <a:ext cx="2350833" cy="2061184"/>
          </a:xfrm>
          <a:prstGeom prst="cloud">
            <a:avLst/>
          </a:prstGeom>
          <a:solidFill>
            <a:schemeClr val="accent5">
              <a:lumMod val="20000"/>
              <a:lumOff val="80000"/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488"/>
          </a:p>
        </p:txBody>
      </p:sp>
      <p:sp>
        <p:nvSpPr>
          <p:cNvPr id="51" name="Cloud 50"/>
          <p:cNvSpPr/>
          <p:nvPr/>
        </p:nvSpPr>
        <p:spPr>
          <a:xfrm>
            <a:off x="932199" y="3661557"/>
            <a:ext cx="3215045" cy="2798279"/>
          </a:xfrm>
          <a:prstGeom prst="cloud">
            <a:avLst/>
          </a:prstGeom>
          <a:solidFill>
            <a:schemeClr val="accent5">
              <a:lumMod val="20000"/>
              <a:lumOff val="80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488"/>
          </a:p>
        </p:txBody>
      </p:sp>
      <p:sp>
        <p:nvSpPr>
          <p:cNvPr id="49" name="Cloud 48"/>
          <p:cNvSpPr/>
          <p:nvPr/>
        </p:nvSpPr>
        <p:spPr>
          <a:xfrm>
            <a:off x="3075564" y="1302684"/>
            <a:ext cx="4108112" cy="1964934"/>
          </a:xfrm>
          <a:prstGeom prst="cloud">
            <a:avLst/>
          </a:prstGeom>
          <a:solidFill>
            <a:schemeClr val="accent5">
              <a:lumMod val="20000"/>
              <a:lumOff val="80000"/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488"/>
          </a:p>
        </p:txBody>
      </p:sp>
      <p:sp>
        <p:nvSpPr>
          <p:cNvPr id="50" name="Cloud 49"/>
          <p:cNvSpPr/>
          <p:nvPr/>
        </p:nvSpPr>
        <p:spPr>
          <a:xfrm rot="801286">
            <a:off x="6231071" y="1637268"/>
            <a:ext cx="2798279" cy="1763494"/>
          </a:xfrm>
          <a:prstGeom prst="cloud">
            <a:avLst/>
          </a:prstGeom>
          <a:solidFill>
            <a:schemeClr val="accent1">
              <a:lumMod val="40000"/>
              <a:lumOff val="60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488"/>
          </a:p>
        </p:txBody>
      </p:sp>
      <p:sp>
        <p:nvSpPr>
          <p:cNvPr id="48" name="Cloud 47"/>
          <p:cNvSpPr/>
          <p:nvPr/>
        </p:nvSpPr>
        <p:spPr>
          <a:xfrm>
            <a:off x="1170351" y="1659910"/>
            <a:ext cx="2500590" cy="1763494"/>
          </a:xfrm>
          <a:prstGeom prst="cloud">
            <a:avLst/>
          </a:prstGeom>
          <a:solidFill>
            <a:schemeClr val="accent1">
              <a:lumMod val="40000"/>
              <a:lumOff val="60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sz="1488"/>
          </a:p>
        </p:txBody>
      </p:sp>
      <p:sp>
        <p:nvSpPr>
          <p:cNvPr id="5129" name="TextBox 6"/>
          <p:cNvSpPr txBox="1">
            <a:spLocks noChangeArrowheads="1"/>
          </p:cNvSpPr>
          <p:nvPr/>
        </p:nvSpPr>
        <p:spPr bwMode="auto">
          <a:xfrm>
            <a:off x="2242996" y="4160536"/>
            <a:ext cx="1190511" cy="346890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altLang="zh-TW" sz="1654" b="1" dirty="0">
                <a:latin typeface="Arial" charset="0"/>
              </a:rPr>
              <a:t>Libraries</a:t>
            </a:r>
            <a:endParaRPr lang="en-GB" sz="1654" b="1" dirty="0">
              <a:latin typeface="Arial" charset="0"/>
            </a:endParaRPr>
          </a:p>
        </p:txBody>
      </p:sp>
      <p:sp>
        <p:nvSpPr>
          <p:cNvPr id="5131" name="TextBox 9"/>
          <p:cNvSpPr txBox="1">
            <a:spLocks noChangeArrowheads="1"/>
          </p:cNvSpPr>
          <p:nvPr/>
        </p:nvSpPr>
        <p:spPr bwMode="auto">
          <a:xfrm>
            <a:off x="4207109" y="1481288"/>
            <a:ext cx="1666979" cy="321306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altLang="zh-TW" sz="1488" b="1" dirty="0">
                <a:latin typeface="Arial" charset="0"/>
              </a:rPr>
              <a:t>Text Rights</a:t>
            </a:r>
            <a:endParaRPr lang="en-GB" sz="1488" b="1" dirty="0">
              <a:latin typeface="Arial" charset="0"/>
            </a:endParaRPr>
          </a:p>
        </p:txBody>
      </p:sp>
      <p:sp>
        <p:nvSpPr>
          <p:cNvPr id="5133" name="TextBox 13"/>
          <p:cNvSpPr txBox="1">
            <a:spLocks noChangeArrowheads="1"/>
          </p:cNvSpPr>
          <p:nvPr/>
        </p:nvSpPr>
        <p:spPr bwMode="auto">
          <a:xfrm>
            <a:off x="6880697" y="1934958"/>
            <a:ext cx="1440544" cy="321306"/>
          </a:xfrm>
          <a:prstGeom prst="rect">
            <a:avLst/>
          </a:prstGeom>
          <a:noFill/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altLang="zh-TW" sz="1488" b="1" dirty="0">
                <a:latin typeface="Arial" charset="0"/>
              </a:rPr>
              <a:t>Music Rights</a:t>
            </a:r>
            <a:endParaRPr lang="en-GB" sz="1488" b="1" dirty="0">
              <a:latin typeface="Arial" charset="0"/>
            </a:endParaRPr>
          </a:p>
        </p:txBody>
      </p:sp>
      <p:pic>
        <p:nvPicPr>
          <p:cNvPr id="15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79054" y="2232647"/>
            <a:ext cx="630039" cy="6051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5135" name="TextBox 15"/>
          <p:cNvSpPr txBox="1">
            <a:spLocks noChangeArrowheads="1"/>
          </p:cNvSpPr>
          <p:nvPr/>
        </p:nvSpPr>
        <p:spPr bwMode="auto">
          <a:xfrm>
            <a:off x="1580938" y="1897878"/>
            <a:ext cx="1610342" cy="321306"/>
          </a:xfrm>
          <a:prstGeom prst="rect">
            <a:avLst/>
          </a:prstGeom>
          <a:noFill/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GB" altLang="zh-TW" sz="1488" b="1" dirty="0">
                <a:latin typeface="Arial" charset="0"/>
              </a:rPr>
              <a:t>Trade Sources</a:t>
            </a:r>
            <a:endParaRPr lang="en-GB" sz="1488" b="1" dirty="0">
              <a:latin typeface="Arial" charset="0"/>
            </a:endParaRPr>
          </a:p>
        </p:txBody>
      </p:sp>
      <p:pic>
        <p:nvPicPr>
          <p:cNvPr id="5136" name="Picture 50" descr="logo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4806" y="2292185"/>
            <a:ext cx="1012431" cy="29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Image 3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5525" y="4078321"/>
            <a:ext cx="736357" cy="4633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Image 35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44343" y="2615331"/>
            <a:ext cx="952606" cy="3317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139" name="TextBox 19"/>
          <p:cNvSpPr txBox="1">
            <a:spLocks noChangeArrowheads="1"/>
          </p:cNvSpPr>
          <p:nvPr/>
        </p:nvSpPr>
        <p:spPr bwMode="auto">
          <a:xfrm>
            <a:off x="6826736" y="3564486"/>
            <a:ext cx="1726310" cy="321306"/>
          </a:xfrm>
          <a:prstGeom prst="rect">
            <a:avLst/>
          </a:prstGeom>
          <a:noFill/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altLang="zh-TW" sz="1488" b="1" dirty="0">
                <a:latin typeface="Arial" charset="0"/>
              </a:rPr>
              <a:t>Encyclopaedias</a:t>
            </a:r>
            <a:endParaRPr lang="en-GB" sz="1488" b="1" dirty="0">
              <a:latin typeface="Arial" charset="0"/>
            </a:endParaRPr>
          </a:p>
        </p:txBody>
      </p:sp>
      <p:sp>
        <p:nvSpPr>
          <p:cNvPr id="5140" name="TextBox 20"/>
          <p:cNvSpPr txBox="1">
            <a:spLocks noChangeArrowheads="1"/>
          </p:cNvSpPr>
          <p:nvPr/>
        </p:nvSpPr>
        <p:spPr bwMode="auto">
          <a:xfrm>
            <a:off x="4393116" y="4895286"/>
            <a:ext cx="2753920" cy="321306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GB" altLang="zh-TW" sz="1488" b="1" dirty="0">
                <a:latin typeface="Arial" charset="0"/>
              </a:rPr>
              <a:t>Researchers &amp; Professional</a:t>
            </a:r>
            <a:endParaRPr lang="en-GB" sz="1488" b="1" dirty="0">
              <a:latin typeface="Arial" charset="0"/>
            </a:endParaRPr>
          </a:p>
        </p:txBody>
      </p:sp>
      <p:pic>
        <p:nvPicPr>
          <p:cNvPr id="22" name="Picture 1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444934" y="5507229"/>
            <a:ext cx="720926" cy="4167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23" name="Image 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5858" y="6043071"/>
            <a:ext cx="1309670" cy="2597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143" name="Image 9251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8003" y="1875419"/>
            <a:ext cx="475154" cy="217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44" name="Image 78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7087"/>
          <a:stretch>
            <a:fillRect/>
          </a:stretch>
        </p:blipFill>
        <p:spPr bwMode="auto">
          <a:xfrm>
            <a:off x="5390771" y="2113571"/>
            <a:ext cx="417401" cy="357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45" name="Picture 2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19291" y="3922821"/>
            <a:ext cx="780986" cy="6497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46" name="Picture 3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416" y="2491881"/>
            <a:ext cx="654978" cy="252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47" name="Picture 4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18926" y="5328616"/>
            <a:ext cx="977242" cy="416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48" name="Image 9264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5691" y="5804920"/>
            <a:ext cx="416089" cy="381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50" name="Image 90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2240" y="6184788"/>
            <a:ext cx="1190511" cy="307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51" name="Picture 5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49555" y="1994496"/>
            <a:ext cx="837427" cy="270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53" name="Picture 7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73843" y="1934959"/>
            <a:ext cx="362273" cy="494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54" name="Picture 8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3175" y="5767388"/>
            <a:ext cx="1011426" cy="302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55" name="Picture 9"/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06782" y="2649412"/>
            <a:ext cx="1290267" cy="353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56" name="Picture 10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62289" y="5864457"/>
            <a:ext cx="892555" cy="375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57" name="Picture 11"/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09094" y="2411260"/>
            <a:ext cx="800674" cy="250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58" name="Picture 12"/>
          <p:cNvPicPr>
            <a:picLocks noChangeAspect="1" noChangeArrowheads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31070" y="5269078"/>
            <a:ext cx="881085" cy="357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6"/>
          <p:cNvPicPr>
            <a:picLocks noChangeAspect="1" noChangeArrowheads="1"/>
          </p:cNvPicPr>
          <p:nvPr/>
        </p:nvPicPr>
        <p:blipFill>
          <a:blip r:embed="rId24" cstate="screen">
            <a:lum bright="-6000" contrast="18000"/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7071"/>
          <a:stretch>
            <a:fillRect/>
          </a:stretch>
        </p:blipFill>
        <p:spPr bwMode="auto">
          <a:xfrm>
            <a:off x="4683085" y="2054034"/>
            <a:ext cx="595379" cy="5186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42" name="Picture 2" descr="C:\Personal\My Pictures\For Presentations\worldcat logo.gif"/>
          <p:cNvPicPr>
            <a:picLocks noChangeAspect="1"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83676" y="5507229"/>
            <a:ext cx="371748" cy="42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42" descr="oclc logo.jpg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453" y="4844591"/>
            <a:ext cx="1086696" cy="432209"/>
          </a:xfrm>
          <a:prstGeom prst="rect">
            <a:avLst/>
          </a:prstGeom>
          <a:ln>
            <a:noFill/>
          </a:ln>
        </p:spPr>
      </p:pic>
      <p:pic>
        <p:nvPicPr>
          <p:cNvPr id="20481" name="Picture 1"/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47834" y="2649411"/>
            <a:ext cx="1012144" cy="331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Title 1"/>
          <p:cNvSpPr txBox="1">
            <a:spLocks/>
          </p:cNvSpPr>
          <p:nvPr/>
        </p:nvSpPr>
        <p:spPr>
          <a:xfrm>
            <a:off x="932199" y="922813"/>
            <a:ext cx="2649855" cy="729549"/>
          </a:xfrm>
          <a:prstGeom prst="rect">
            <a:avLst/>
          </a:prstGeom>
        </p:spPr>
        <p:txBody>
          <a:bodyPr vert="horz" lIns="75605" tIns="37802" rIns="75605" bIns="37802" rtlCol="0" anchor="ctr">
            <a:normAutofit fontScale="7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969" b="1" dirty="0">
                <a:solidFill>
                  <a:srgbClr val="006699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cross-domain </a:t>
            </a:r>
            <a:endParaRPr lang="en-US" sz="3638" b="1" dirty="0">
              <a:solidFill>
                <a:srgbClr val="006699"/>
              </a:solidFill>
              <a:effectLst>
                <a:outerShdw blurRad="38100" dist="38100" dir="2700000" algn="tl">
                  <a:srgbClr val="DDDDDD"/>
                </a:outerShdw>
              </a:effectLst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47" name="Title 1"/>
          <p:cNvSpPr txBox="1">
            <a:spLocks/>
          </p:cNvSpPr>
          <p:nvPr/>
        </p:nvSpPr>
        <p:spPr>
          <a:xfrm>
            <a:off x="5569494" y="863276"/>
            <a:ext cx="3948410" cy="729549"/>
          </a:xfrm>
          <a:prstGeom prst="rect">
            <a:avLst/>
          </a:prstGeom>
        </p:spPr>
        <p:txBody>
          <a:bodyPr vert="horz" lIns="75605" tIns="37802" rIns="75605" bIns="37802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756" b="1" dirty="0">
                <a:solidFill>
                  <a:srgbClr val="006699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bridging-domains </a:t>
            </a:r>
          </a:p>
        </p:txBody>
      </p:sp>
      <p:sp>
        <p:nvSpPr>
          <p:cNvPr id="56" name="TextBox 15"/>
          <p:cNvSpPr txBox="1">
            <a:spLocks noChangeArrowheads="1"/>
          </p:cNvSpPr>
          <p:nvPr/>
        </p:nvSpPr>
        <p:spPr bwMode="auto">
          <a:xfrm>
            <a:off x="1260078" y="3377129"/>
            <a:ext cx="1953766" cy="55027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GB" altLang="zh-TW" sz="1488" b="1" dirty="0">
                <a:latin typeface="Arial" charset="0"/>
              </a:rPr>
              <a:t>Archive / museums (coming)</a:t>
            </a:r>
            <a:endParaRPr lang="en-GB" sz="1488" b="1" dirty="0">
              <a:latin typeface="Arial" charset="0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3213" y="5090465"/>
            <a:ext cx="979895" cy="384853"/>
          </a:xfrm>
          <a:prstGeom prst="rect">
            <a:avLst/>
          </a:prstGeom>
        </p:spPr>
      </p:pic>
      <p:pic>
        <p:nvPicPr>
          <p:cNvPr id="57" name="Picture 29" descr="logo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4087707" y="3624660"/>
            <a:ext cx="1937790" cy="714454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grpSp>
        <p:nvGrpSpPr>
          <p:cNvPr id="4" name="Grouper 37"/>
          <p:cNvGrpSpPr>
            <a:grpSpLocks/>
          </p:cNvGrpSpPr>
          <p:nvPr/>
        </p:nvGrpSpPr>
        <p:grpSpPr bwMode="auto">
          <a:xfrm>
            <a:off x="1497421" y="4576121"/>
            <a:ext cx="1607912" cy="1190511"/>
            <a:chOff x="3419475" y="2541588"/>
            <a:chExt cx="1512888" cy="1463675"/>
          </a:xfrm>
        </p:grpSpPr>
        <p:pic>
          <p:nvPicPr>
            <p:cNvPr id="59" name="Picture 11"/>
            <p:cNvPicPr>
              <a:picLocks noChangeAspect="1" noChangeArrowheads="1"/>
            </p:cNvPicPr>
            <p:nvPr/>
          </p:nvPicPr>
          <p:blipFill>
            <a:blip r:embed="rId32" cstate="screen">
              <a:extLst>
                <a:ext uri="{BEBA8EAE-BF5A-486C-A8C5-ECC9F3942E4B}">
                  <a14:imgProps xmlns:a14="http://schemas.microsoft.com/office/drawing/2010/main">
                    <a14:imgLayer r:embed="rId33"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9475" y="2541588"/>
              <a:ext cx="1512888" cy="14636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/>
          </p:spPr>
        </p:pic>
        <p:pic>
          <p:nvPicPr>
            <p:cNvPr id="60" name="Picture 14" descr="Viaf">
              <a:hlinkClick r:id="rId34"/>
            </p:cNvPr>
            <p:cNvPicPr>
              <a:picLocks noChangeAspect="1" noChangeArrowheads="1"/>
            </p:cNvPicPr>
            <p:nvPr/>
          </p:nvPicPr>
          <p:blipFill>
            <a:blip r:embed="rId35" cstate="print">
              <a:lum bright="12000"/>
            </a:blip>
            <a:srcRect/>
            <a:stretch>
              <a:fillRect/>
            </a:stretch>
          </p:blipFill>
          <p:spPr bwMode="auto">
            <a:xfrm>
              <a:off x="3911009" y="2828836"/>
              <a:ext cx="589100" cy="79719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/>
          </p:spPr>
        </p:pic>
      </p:grpSp>
      <p:pic>
        <p:nvPicPr>
          <p:cNvPr id="5149" name="Picture 2"/>
          <p:cNvPicPr>
            <a:picLocks noChangeAspect="1" noChangeArrowheads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70766" y="5822126"/>
            <a:ext cx="1013313" cy="454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9993" y="4583262"/>
            <a:ext cx="432522" cy="43252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9956" y="5133968"/>
            <a:ext cx="282495" cy="5686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8186" y="5842162"/>
            <a:ext cx="829889" cy="522523"/>
          </a:xfrm>
          <a:prstGeom prst="rect">
            <a:avLst/>
          </a:prstGeom>
        </p:spPr>
      </p:pic>
      <p:sp>
        <p:nvSpPr>
          <p:cNvPr id="8" name="Szövegdoboz 7"/>
          <p:cNvSpPr txBox="1"/>
          <p:nvPr/>
        </p:nvSpPr>
        <p:spPr>
          <a:xfrm>
            <a:off x="455896" y="6817062"/>
            <a:ext cx="7953197" cy="854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 smtClean="0">
              <a:ea typeface="Swagger" pitchFamily="2" charset="0"/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103893" y="74950"/>
            <a:ext cx="9753600" cy="1263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b="1" dirty="0"/>
              <a:t>ISNI (International Standard Name Identifier) </a:t>
            </a:r>
            <a:r>
              <a:rPr lang="en-US" sz="1800" b="1" dirty="0" err="1"/>
              <a:t>nemzetközi</a:t>
            </a:r>
            <a:r>
              <a:rPr lang="en-US" sz="1800" b="1" dirty="0"/>
              <a:t> </a:t>
            </a:r>
            <a:r>
              <a:rPr lang="en-US" sz="1800" b="1" dirty="0" err="1"/>
              <a:t>szabványos</a:t>
            </a:r>
            <a:r>
              <a:rPr lang="en-US" sz="1800" b="1" dirty="0"/>
              <a:t> </a:t>
            </a:r>
            <a:r>
              <a:rPr lang="en-US" sz="1800" b="1" dirty="0" err="1"/>
              <a:t>név</a:t>
            </a:r>
            <a:r>
              <a:rPr lang="en-US" sz="1800" b="1" dirty="0"/>
              <a:t> </a:t>
            </a:r>
            <a:r>
              <a:rPr lang="en-US" sz="1800" b="1" dirty="0" err="1"/>
              <a:t>azonosító</a:t>
            </a:r>
            <a:r>
              <a:rPr lang="en-US" sz="1800" b="1" dirty="0"/>
              <a:t> </a:t>
            </a:r>
            <a:r>
              <a:rPr lang="en-US" sz="1800" b="1" dirty="0" err="1"/>
              <a:t>szolgáltatási</a:t>
            </a:r>
            <a:r>
              <a:rPr lang="en-US" sz="1800" b="1" dirty="0"/>
              <a:t> platform </a:t>
            </a:r>
            <a:r>
              <a:rPr lang="en-US" sz="1800" b="1" dirty="0" err="1"/>
              <a:t>ábrája</a:t>
            </a:r>
            <a:r>
              <a:rPr lang="en-US" sz="1800" b="1" dirty="0"/>
              <a:t>, </a:t>
            </a:r>
            <a:r>
              <a:rPr lang="en-US" sz="1800" b="1" dirty="0" err="1" smtClean="0"/>
              <a:t>együtt</a:t>
            </a:r>
            <a:r>
              <a:rPr lang="hu-HU" sz="1800" b="1" dirty="0" smtClean="0"/>
              <a:t>működők:</a:t>
            </a:r>
            <a:r>
              <a:rPr lang="en-US" sz="1800" b="1" dirty="0" smtClean="0"/>
              <a:t>pl</a:t>
            </a:r>
            <a:r>
              <a:rPr lang="en-US" sz="1800" b="1" dirty="0"/>
              <a:t>. LC</a:t>
            </a:r>
            <a:r>
              <a:rPr lang="nl-NL" sz="1800" b="1" dirty="0"/>
              <a:t>, Nat. Libraries of Finland, Norway, New Zealand and </a:t>
            </a:r>
            <a:r>
              <a:rPr lang="nl-NL" sz="1800" b="1" dirty="0" smtClean="0"/>
              <a:t>Poland</a:t>
            </a:r>
            <a:r>
              <a:rPr lang="nl-NL" sz="1800" b="1" dirty="0"/>
              <a:t>, stb. </a:t>
            </a:r>
            <a:r>
              <a:rPr lang="nl-NL" sz="1600" b="1" dirty="0" smtClean="0"/>
              <a:t>(</a:t>
            </a:r>
            <a:r>
              <a:rPr lang="hu-HU" sz="1600" b="1" dirty="0"/>
              <a:t>IN </a:t>
            </a:r>
            <a:r>
              <a:rPr lang="hu-HU" sz="1600" b="1" dirty="0" err="1"/>
              <a:t>Oclc</a:t>
            </a:r>
            <a:r>
              <a:rPr lang="hu-HU" sz="1600" b="1" dirty="0"/>
              <a:t> </a:t>
            </a:r>
            <a:r>
              <a:rPr lang="hu-HU" sz="1600" b="1" dirty="0" err="1"/>
              <a:t>in</a:t>
            </a:r>
            <a:r>
              <a:rPr lang="hu-HU" sz="1600" b="1" dirty="0"/>
              <a:t> </a:t>
            </a:r>
            <a:r>
              <a:rPr lang="hu-HU" sz="1600" b="1" dirty="0" err="1"/>
              <a:t>the</a:t>
            </a:r>
            <a:r>
              <a:rPr lang="hu-HU" sz="1600" b="1" dirty="0"/>
              <a:t> Digital Market. Eric van der </a:t>
            </a:r>
            <a:r>
              <a:rPr lang="hu-HU" sz="1600" b="1" dirty="0" err="1"/>
              <a:t>Lubeck</a:t>
            </a:r>
            <a:r>
              <a:rPr lang="hu-HU" sz="1600" b="1" dirty="0"/>
              <a:t>) </a:t>
            </a:r>
            <a:endParaRPr lang="hu-HU" sz="1600" dirty="0"/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 smtClean="0"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068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60000" y="294040"/>
            <a:ext cx="9720625" cy="895933"/>
          </a:xfrm>
        </p:spPr>
        <p:txBody>
          <a:bodyPr/>
          <a:lstStyle/>
          <a:p>
            <a:r>
              <a:rPr lang="hu-HU" b="1" dirty="0" smtClean="0">
                <a:latin typeface="Arial" panose="020B0604020202020204" pitchFamily="34" charset="0"/>
                <a:cs typeface="Arial" panose="020B0604020202020204" pitchFamily="34" charset="0"/>
              </a:rPr>
              <a:t>„ACCESS” / elérhetőség és hozzáférés</a:t>
            </a:r>
            <a:br>
              <a:rPr lang="hu-H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új </a:t>
            </a:r>
            <a:r>
              <a:rPr lang="hu-HU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ógia kiterjeszti de korlátozhatja </a:t>
            </a:r>
            <a:r>
              <a:rPr lang="hu-HU" sz="2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a hozzáférést</a:t>
            </a:r>
            <a:endParaRPr lang="hu-HU" sz="2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206888" y="1394014"/>
            <a:ext cx="9663621" cy="5316275"/>
          </a:xfrm>
          <a:solidFill>
            <a:schemeClr val="bg1"/>
          </a:solidFill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den könyvtári tevékenység a hozzáféréssel és elérhetőséggel válik sikeressé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zabályozás meghatározza de akadályozhatja is a hozzáférést, a copyright törvények nemzetközi és egységes stratégiákat igényelnek (IFLA Free Access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dom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ression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FAIF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jlett és felzárkózó országok polgárainak lehetőségei nem azonosa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emzeti örökség megőrzése és digitalizálása versenyfutásban  –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stand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z elsőként digitalizálókná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leszakadók és a digitális írástudatlanság erős társadalmi hatása – gátolja az állampolgári részvétel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omináns szereplők száma növekszik – keresni kell az együttműködés értékalapú lehetőségei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nyvtár nem alternatívája a digitális kereskedelemnek (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xiell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kább vásárolnak vagy inkább olvasnak az emberek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? Mi az e-book jövője?</a:t>
            </a:r>
            <a:endParaRPr lang="hu-HU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u-HU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u-H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540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55337" y="317932"/>
            <a:ext cx="9364663" cy="588082"/>
          </a:xfrm>
        </p:spPr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A nyílt hozzáférés és a könyvtári szerepek változása – IFLA trendek</a:t>
            </a:r>
            <a:b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5337" y="1495062"/>
            <a:ext cx="9562386" cy="5972538"/>
          </a:xfrm>
          <a:solidFill>
            <a:schemeClr val="bg1"/>
          </a:solidFill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online nyílt hozzáférés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biztosítása és fejlesztése kiemelt könyvtári szere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lentős IFLA trendek és felkészülés 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z infrastruktúra építésében,  a szabályok elveknek megfelelő fejlesztésében, a felhasználó barát szolgáltatások fejlesztésében, a hosszú távú elérhetőség biztosításában. 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 könyvtárak kinyilvánították támogatásukat az IFLA  </a:t>
            </a:r>
            <a:r>
              <a:rPr lang="hu-H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pen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ccess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petíciójának aláírásáva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2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z akadémiai és kutató könyvtárakban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nagy eredményeket ért el – kialakuló </a:t>
            </a:r>
            <a:r>
              <a:rPr lang="hu-HU" sz="2000" dirty="0" err="1">
                <a:latin typeface="Arial" panose="020B0604020202020204" pitchFamily="34" charset="0"/>
                <a:cs typeface="Arial" panose="020B0604020202020204" pitchFamily="34" charset="0"/>
              </a:rPr>
              <a:t>repozitóriumok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, nemzeti és nemzetközi együttműködé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könyvtárak a felsőoktatási kommunikációs környezet működtetésében partneri szerepet játszanak a fakultációk és a kutatási egységek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vezetőivel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kutatási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dokumentumok megőrzésében és szabályos közzétételében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tegrálják rendszereiket egységes platformokhoz és nemzetközi standardoknak megfelelő szolgáltatásokhoz.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(MTMT országos kooperáció – nemzetközi kapcsolatok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 nemzeti könyvtárak is felvállalták a nemzeti nyílt hozzáférés elvét és a szükséges infrastruktúra biztosítását a kulturális kincsek megőrzésér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z IFLA </a:t>
            </a:r>
            <a:r>
              <a:rPr lang="hu-H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pen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ccess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kiáltványához csatlakoznak a nemzeti könyvtári szakmai szervezetek, így az MKE is.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278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Cím 1"/>
          <p:cNvSpPr>
            <a:spLocks noGrp="1"/>
          </p:cNvSpPr>
          <p:nvPr>
            <p:ph type="title"/>
          </p:nvPr>
        </p:nvSpPr>
        <p:spPr>
          <a:xfrm>
            <a:off x="336020" y="135156"/>
            <a:ext cx="9744604" cy="798049"/>
          </a:xfrm>
        </p:spPr>
        <p:txBody>
          <a:bodyPr/>
          <a:lstStyle/>
          <a:p>
            <a: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Folyamatosan újabb generációs trendek és leszakadó rétegek keletkeznek – könyvtári kiegyenlítés</a:t>
            </a:r>
            <a:b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altLang="hu-HU" sz="2205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95" name="Tartalom helye 2"/>
          <p:cNvSpPr>
            <a:spLocks noGrp="1"/>
          </p:cNvSpPr>
          <p:nvPr>
            <p:ph idx="1"/>
          </p:nvPr>
        </p:nvSpPr>
        <p:spPr>
          <a:xfrm>
            <a:off x="143508" y="1302479"/>
            <a:ext cx="6314442" cy="5044533"/>
          </a:xfrm>
          <a:solidFill>
            <a:srgbClr val="CCFF99"/>
          </a:solidFill>
          <a:ln>
            <a:solidFill>
              <a:schemeClr val="tx2"/>
            </a:solidFill>
            <a:miter lim="800000"/>
            <a:headEnd/>
            <a:tailEnd/>
          </a:ln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hu-HU" alt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emberi igények összetétele folyamatosan </a:t>
            </a:r>
            <a:r>
              <a:rPr lang="hu-HU" alt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águ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hu-HU" alt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alt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ény kielégítésben növekszik a türelmetlensé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hu-HU" alt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altLang="hu-H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kennelő</a:t>
            </a:r>
            <a:r>
              <a:rPr lang="hu-HU" alt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olvasás az elmélyedő helyet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hu-HU" alt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övekszik </a:t>
            </a:r>
            <a:r>
              <a:rPr lang="hu-HU" alt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épi és mozgó információk </a:t>
            </a:r>
            <a:r>
              <a:rPr lang="hu-HU" alt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repe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hu-HU" alt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alt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tékes és értéktelen keveredik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hu-HU" alt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idő tényező minden élethelyzetben megnő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hu-HU" alt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emberek naponta 2 órával kevesebbet alszanak, mint 80 évvel ezelőt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hu-HU" alt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iatalok 66 %-a egyszerre szörföl, nézi a TV-t és mobilon </a:t>
            </a:r>
            <a:r>
              <a:rPr lang="hu-HU" alt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átszik, figyelem megosztás és elmélyülés</a:t>
            </a:r>
            <a:endParaRPr lang="hu-HU" altLang="hu-H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hu-HU" altLang="hu-H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emberek 43 %-a rossz döntéseket hoz hibás adatok </a:t>
            </a:r>
            <a:r>
              <a:rPr lang="hu-HU" alt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att</a:t>
            </a:r>
            <a:endParaRPr lang="en-US" altLang="hu-H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96" name="Dátum helye 3"/>
          <p:cNvSpPr>
            <a:spLocks noGrp="1"/>
          </p:cNvSpPr>
          <p:nvPr>
            <p:ph type="dt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819028" indent="-315011" eaLnBrk="0" hangingPunct="0">
              <a:lnSpc>
                <a:spcPct val="90000"/>
              </a:lnSpc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260043" indent="-252009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764060" indent="-252009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268078" indent="-252009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772095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3276112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780130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4284147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fld id="{7F3B9956-4060-4E74-88BE-B4F856EC2BD2}" type="datetime1">
              <a:rPr lang="en-US" altLang="hu-HU" smtClean="0">
                <a:latin typeface="Tele-GroteskNor" pitchFamily="2" charset="0"/>
              </a:rPr>
              <a:pPr eaLnBrk="1" hangingPunct="1">
                <a:lnSpc>
                  <a:spcPct val="100000"/>
                </a:lnSpc>
              </a:pPr>
              <a:t>5/23/2019</a:t>
            </a:fld>
            <a:endParaRPr lang="en-US" altLang="hu-HU" smtClean="0">
              <a:latin typeface="Tele-GroteskNor" pitchFamily="2" charset="0"/>
            </a:endParaRPr>
          </a:p>
        </p:txBody>
      </p:sp>
      <p:sp>
        <p:nvSpPr>
          <p:cNvPr id="8197" name="Dia számának helye 5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819028" indent="-315011" eaLnBrk="0" hangingPunct="0">
              <a:lnSpc>
                <a:spcPct val="90000"/>
              </a:lnSpc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260043" indent="-252009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764060" indent="-252009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268078" indent="-252009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772095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3276112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780130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4284147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fld id="{46A7AE37-CC61-499B-B99C-8C5181C6DD6E}" type="slidenum">
              <a:rPr lang="en-US" altLang="hu-HU">
                <a:latin typeface="Tele-GroteskNor" pitchFamily="2" charset="0"/>
              </a:rPr>
              <a:pPr eaLnBrk="1" hangingPunct="1">
                <a:lnSpc>
                  <a:spcPct val="100000"/>
                </a:lnSpc>
              </a:pPr>
              <a:t>19</a:t>
            </a:fld>
            <a:endParaRPr lang="en-US" altLang="hu-HU">
              <a:latin typeface="Tele-GroteskNor" pitchFamily="2" charset="0"/>
            </a:endParaRPr>
          </a:p>
        </p:txBody>
      </p:sp>
      <p:sp>
        <p:nvSpPr>
          <p:cNvPr id="8198" name="Szövegdoboz 1"/>
          <p:cNvSpPr txBox="1">
            <a:spLocks noChangeArrowheads="1"/>
          </p:cNvSpPr>
          <p:nvPr/>
        </p:nvSpPr>
        <p:spPr bwMode="auto">
          <a:xfrm>
            <a:off x="6667500" y="1691456"/>
            <a:ext cx="3264366" cy="2641749"/>
          </a:xfrm>
          <a:prstGeom prst="rect">
            <a:avLst/>
          </a:prstGeom>
          <a:solidFill>
            <a:srgbClr val="0020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ct val="90000"/>
              </a:lnSpc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 eaLnBrk="0" hangingPunct="0">
              <a:lnSpc>
                <a:spcPct val="90000"/>
              </a:lnSpc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>
              <a:lnSpc>
                <a:spcPts val="2756"/>
              </a:lnSpc>
              <a:spcBef>
                <a:spcPct val="0"/>
              </a:spcBef>
              <a:spcAft>
                <a:spcPts val="496"/>
              </a:spcAft>
            </a:pPr>
            <a:endParaRPr lang="hu-HU" altLang="hu-HU" sz="3087" b="1" dirty="0">
              <a:solidFill>
                <a:srgbClr val="00B050"/>
              </a:solidFill>
              <a:ea typeface="TeleGrotesk Headline Ultra" pitchFamily="2" charset="0"/>
              <a:cs typeface="TeleGrotesk Headline Ultra" pitchFamily="2" charset="0"/>
            </a:endParaRPr>
          </a:p>
          <a:p>
            <a:pPr algn="ctr" eaLnBrk="1" hangingPunct="1">
              <a:lnSpc>
                <a:spcPts val="2756"/>
              </a:lnSpc>
              <a:spcBef>
                <a:spcPct val="0"/>
              </a:spcBef>
              <a:spcAft>
                <a:spcPts val="496"/>
              </a:spcAft>
            </a:pPr>
            <a:r>
              <a:rPr lang="hu-HU" altLang="hu-HU" sz="3087" b="1" dirty="0">
                <a:solidFill>
                  <a:srgbClr val="00B050"/>
                </a:solidFill>
                <a:ea typeface="TeleGrotesk Headline Ultra" pitchFamily="2" charset="0"/>
                <a:cs typeface="TeleGrotesk Headline Ultra" pitchFamily="2" charset="0"/>
              </a:rPr>
              <a:t>Szorító tényezők</a:t>
            </a:r>
          </a:p>
          <a:p>
            <a:pPr algn="ctr" eaLnBrk="1" hangingPunct="1">
              <a:lnSpc>
                <a:spcPts val="2756"/>
              </a:lnSpc>
              <a:spcBef>
                <a:spcPct val="0"/>
              </a:spcBef>
              <a:spcAft>
                <a:spcPts val="496"/>
              </a:spcAft>
            </a:pPr>
            <a:r>
              <a:rPr lang="hu-HU" altLang="hu-HU" sz="3087" b="1" dirty="0">
                <a:solidFill>
                  <a:srgbClr val="00B050"/>
                </a:solidFill>
                <a:ea typeface="TeleGrotesk Headline Ultra" pitchFamily="2" charset="0"/>
                <a:cs typeface="TeleGrotesk Headline Ultra" pitchFamily="2" charset="0"/>
              </a:rPr>
              <a:t>  idő, sebesség, növekvő igények,  kommunikációs lehetőségek, a média</a:t>
            </a:r>
            <a:r>
              <a:rPr lang="hu-HU" altLang="hu-HU" sz="3087" b="1" dirty="0">
                <a:solidFill>
                  <a:srgbClr val="00B050"/>
                </a:solidFill>
              </a:rPr>
              <a:t>  változása </a:t>
            </a:r>
            <a:endParaRPr lang="hu-HU" altLang="hu-HU" sz="2536" dirty="0">
              <a:solidFill>
                <a:schemeClr val="bg1"/>
              </a:solidFill>
            </a:endParaRPr>
          </a:p>
        </p:txBody>
      </p:sp>
      <p:sp>
        <p:nvSpPr>
          <p:cNvPr id="8199" name="Szövegdoboz 7"/>
          <p:cNvSpPr txBox="1">
            <a:spLocks noChangeArrowheads="1"/>
          </p:cNvSpPr>
          <p:nvPr/>
        </p:nvSpPr>
        <p:spPr bwMode="auto">
          <a:xfrm>
            <a:off x="6667500" y="4551649"/>
            <a:ext cx="3264366" cy="1795363"/>
          </a:xfrm>
          <a:prstGeom prst="rect">
            <a:avLst/>
          </a:prstGeom>
          <a:solidFill>
            <a:srgbClr val="0020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ct val="90000"/>
              </a:lnSpc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742950" indent="-285750" eaLnBrk="0" hangingPunct="0">
              <a:lnSpc>
                <a:spcPct val="90000"/>
              </a:lnSpc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>
              <a:lnSpc>
                <a:spcPts val="2756"/>
              </a:lnSpc>
              <a:spcBef>
                <a:spcPct val="0"/>
              </a:spcBef>
              <a:spcAft>
                <a:spcPts val="496"/>
              </a:spcAft>
            </a:pPr>
            <a:r>
              <a:rPr lang="hu-HU" altLang="hu-HU" sz="3087" b="1" dirty="0" smtClean="0">
                <a:solidFill>
                  <a:srgbClr val="00B050"/>
                </a:solidFill>
                <a:ea typeface="TeleGrotesk Headline Ultra" pitchFamily="2" charset="0"/>
                <a:cs typeface="TeleGrotesk Headline Ultra" pitchFamily="2" charset="0"/>
              </a:rPr>
              <a:t>A </a:t>
            </a:r>
            <a:r>
              <a:rPr lang="hu-HU" altLang="hu-HU" sz="3087" b="1" dirty="0">
                <a:solidFill>
                  <a:srgbClr val="00B050"/>
                </a:solidFill>
                <a:ea typeface="TeleGrotesk Headline Ultra" pitchFamily="2" charset="0"/>
                <a:cs typeface="TeleGrotesk Headline Ultra" pitchFamily="2" charset="0"/>
              </a:rPr>
              <a:t>könyvtár minőséget, értéket és támogatást nyújt, de ehhez folyamatosan értékelnie kell önmagát</a:t>
            </a:r>
            <a:endParaRPr lang="hu-HU" altLang="hu-HU" sz="2536" dirty="0">
              <a:solidFill>
                <a:schemeClr val="bg1"/>
              </a:solidFill>
            </a:endParaRPr>
          </a:p>
        </p:txBody>
      </p:sp>
      <p:sp>
        <p:nvSpPr>
          <p:cNvPr id="2" name="Szövegdoboz 1"/>
          <p:cNvSpPr txBox="1"/>
          <p:nvPr/>
        </p:nvSpPr>
        <p:spPr>
          <a:xfrm>
            <a:off x="143508" y="6623672"/>
            <a:ext cx="9632505" cy="71287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altLang="hu-H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zükségletek gyors és szerteágazó növekedése miatt a változásokra kell </a:t>
            </a:r>
            <a:r>
              <a:rPr lang="hu-HU" altLang="hu-H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centrálni</a:t>
            </a:r>
            <a:endParaRPr lang="hu-HU" sz="2000" dirty="0" smtClean="0">
              <a:solidFill>
                <a:schemeClr val="bg1"/>
              </a:solidFill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327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60000" y="294041"/>
            <a:ext cx="9720625" cy="588082"/>
          </a:xfrm>
        </p:spPr>
        <p:txBody>
          <a:bodyPr/>
          <a:lstStyle/>
          <a:p>
            <a:r>
              <a:rPr lang="hu-HU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rendek – digitális kihívások - áttekintés</a:t>
            </a:r>
            <a:endParaRPr lang="hu-HU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201705" y="1115765"/>
            <a:ext cx="9738162" cy="6317967"/>
          </a:xfrm>
          <a:solidFill>
            <a:schemeClr val="bg1"/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ÁLIS hálózatok - dinamikus és minőségi fejlődé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ális könyvtári és tudományos rendszerek, használók visszahatása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technológia, hálózati törvények, krízise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ADAT, mint intellektuális hálózati objektum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20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web”, adatsémák, adatstruktúrák  a szemantikus web és a tudásmenedzsment kodifikált összetevő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i változás menedzsment – dinamikus szerepfelfogás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 </a:t>
            </a: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repváltozásai, a fejlődési irányokhoz rendeződő munkaszervezet és kompetencia igén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”- </a:t>
            </a:r>
            <a:r>
              <a:rPr lang="hu-HU" sz="2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ílt hozzáférés, esélyegyenlőség és korlátok 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 technológiai lehetőségek és a globális </a:t>
            </a:r>
            <a:r>
              <a:rPr lang="hu-H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gatív </a:t>
            </a: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tások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endParaRPr lang="hu-HU" sz="8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lvl="3" indent="-355600">
              <a:buFont typeface="Arial" panose="020B0604020202020204" pitchFamily="34" charset="0"/>
              <a:buChar char="•"/>
            </a:pPr>
            <a:r>
              <a:rPr lang="hu-HU" sz="2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i intellektuális felkészítés -  tanulási formák</a:t>
            </a:r>
            <a:endParaRPr lang="hu-HU" sz="2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humán tényező erősítése, technológiai inspiráció, közösségépítés, online és mobil oktatás, digitális írástudás, támogatott információszerzé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SMART” - kreatív modellek és stratégiák, fejlődési irányo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825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60000" y="195567"/>
            <a:ext cx="9364663" cy="943916"/>
          </a:xfrm>
        </p:spPr>
        <p:txBody>
          <a:bodyPr/>
          <a:lstStyle/>
          <a:p>
            <a:r>
              <a:rPr lang="hu-HU" altLang="hu-HU" b="1" dirty="0">
                <a:latin typeface="Arial" panose="020B0604020202020204" pitchFamily="34" charset="0"/>
                <a:cs typeface="Arial" panose="020B0604020202020204" pitchFamily="34" charset="0"/>
              </a:rPr>
              <a:t>A könyvtárak </a:t>
            </a:r>
            <a:r>
              <a:rPr lang="hu-HU" altLang="hu-HU" b="1" dirty="0" smtClean="0">
                <a:latin typeface="Arial" panose="020B0604020202020204" pitchFamily="34" charset="0"/>
                <a:cs typeface="Arial" panose="020B0604020202020204" pitchFamily="34" charset="0"/>
              </a:rPr>
              <a:t>szerepe és jövője </a:t>
            </a:r>
            <a:r>
              <a:rPr lang="hu-HU" altLang="hu-HU" b="1" dirty="0">
                <a:latin typeface="Arial" panose="020B0604020202020204" pitchFamily="34" charset="0"/>
                <a:cs typeface="Arial" panose="020B0604020202020204" pitchFamily="34" charset="0"/>
              </a:rPr>
              <a:t>a tanulási technológiák innovatív támogatása</a:t>
            </a:r>
            <a:br>
              <a:rPr lang="hu-HU" altLang="hu-HU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60000" y="1474733"/>
            <a:ext cx="9529588" cy="5981144"/>
          </a:xfrm>
          <a:solidFill>
            <a:schemeClr val="bg1"/>
          </a:solidFill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 fejlesztése erősen kötődik </a:t>
            </a:r>
            <a:r>
              <a:rPr lang="hu-HU" sz="2000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innovatív tanulás támogatásához. </a:t>
            </a:r>
            <a:r>
              <a:rPr lang="hu-HU" sz="20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20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u="sng" dirty="0">
                <a:latin typeface="Arial" panose="020B0604020202020204" pitchFamily="34" charset="0"/>
                <a:cs typeface="Arial" panose="020B0604020202020204" pitchFamily="34" charset="0"/>
              </a:rPr>
              <a:t>tanulási technológiák </a:t>
            </a:r>
            <a:r>
              <a:rPr lang="hu-HU" sz="20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fejlesztéséhez az </a:t>
            </a:r>
            <a:r>
              <a:rPr lang="hu-HU" sz="2000" u="sng" dirty="0">
                <a:latin typeface="Arial" panose="020B0604020202020204" pitchFamily="34" charset="0"/>
                <a:cs typeface="Arial" panose="020B0604020202020204" pitchFamily="34" charset="0"/>
              </a:rPr>
              <a:t>új európai </a:t>
            </a:r>
            <a:r>
              <a:rPr lang="hu-HU" sz="20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irányelvekben </a:t>
            </a:r>
          </a:p>
          <a:p>
            <a:pPr marL="365125" lvl="2" indent="-365125">
              <a:buFont typeface="Arial" panose="020B0604020202020204" pitchFamily="34" charset="0"/>
              <a:buChar char="•"/>
            </a:pPr>
            <a:r>
              <a:rPr lang="hu-HU" sz="2000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nulás széles könyvtári összefüggései, az élethosszig </a:t>
            </a:r>
            <a:r>
              <a:rPr lang="hu-HU" sz="2000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nulás </a:t>
            </a:r>
            <a:r>
              <a:rPr lang="hu-HU" sz="2000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ámogatása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hálózati kultúra környezetében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egváltozó olvasási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és tanulási szokások és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ódszerek értékelése és felhasználása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új média és mobil eszközök használatának </a:t>
            </a:r>
            <a:r>
              <a:rPr lang="hu-H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entorálása</a:t>
            </a:r>
            <a:endParaRPr lang="hu-H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helyes életvezetésre, az állampolgári szerepek gyakorlására, vagy a helyi sajátosságra vonatkozó ismeretek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egszerzése</a:t>
            </a: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igitális műveltség és írástudás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– könyvtártípusok szerint eltérő feladatok</a:t>
            </a:r>
          </a:p>
          <a:p>
            <a:pPr marL="558800" lvl="2" indent="-342900">
              <a:buFont typeface="Arial" panose="020B0604020202020204" pitchFamily="34" charset="0"/>
              <a:buChar char="•"/>
            </a:pP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A digitális kor információs kultúrájának megfelelő szolgáltatások kiterjednek a web és a digitális környezet megismertetésére, rendszereire, a copyright előírások terjesztésére, és a publikációk használatának szabályaira, valamint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tudásforrások akkreditálási folyamataira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yakorlat és készségfejlesztés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tudásforrások, és a tudás visszakereső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echanizmusok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az információs és digitális tudástartalmak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génybevételéhez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ozott és instrukciós tájékoztatási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zolgáltatások a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tudásbázisok környezetében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hu-HU" sz="2000" i="1" dirty="0" err="1">
                <a:latin typeface="Arial" panose="020B0604020202020204" pitchFamily="34" charset="0"/>
                <a:cs typeface="Arial" panose="020B0604020202020204" pitchFamily="34" charset="0"/>
              </a:rPr>
              <a:t>coach</a:t>
            </a:r>
            <a:r>
              <a:rPr lang="hu-HU" sz="2000" i="1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>
                <a:latin typeface="Arial" panose="020B0604020202020204" pitchFamily="34" charset="0"/>
                <a:cs typeface="Arial" panose="020B0604020202020204" pitchFamily="34" charset="0"/>
              </a:rPr>
              <a:t>e-learning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49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On-line tanulás, digitális könyvtári kurzusok, tanulás támogatás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66613" y="1377488"/>
            <a:ext cx="9360000" cy="6183775"/>
          </a:xfrm>
          <a:solidFill>
            <a:schemeClr val="bg1"/>
          </a:solidFill>
        </p:spPr>
        <p:txBody>
          <a:bodyPr/>
          <a:lstStyle/>
          <a:p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z online tanuláshoz számítógépet internetet és web böngészőt, szoftvereket, videó és </a:t>
            </a:r>
            <a:r>
              <a:rPr lang="hu-H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udió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fájlokat, letölthető tananyagokat, </a:t>
            </a:r>
            <a:r>
              <a:rPr lang="hu-H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-learning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(programozott) elektronikus szoftvereket tud biztosítani a könyvtár</a:t>
            </a:r>
          </a:p>
          <a:p>
            <a:r>
              <a:rPr lang="hu-HU" sz="20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sive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pen Online </a:t>
            </a:r>
            <a:r>
              <a:rPr lang="hu-HU" sz="20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rse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OC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hu-HU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ílt hozzáférésű online kurzus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a weben, amely </a:t>
            </a:r>
            <a:r>
              <a:rPr lang="hu-H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radícionális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oktatási formák mellett (előadások, olvasmányok, stb.) támogatja az interaktív használói kurzusokat hallgatok, professzorok és egyéb oktatók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közreműködésével. </a:t>
            </a: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Nyílt és szabad hozzáférést biztosít a tartalmakhoz, és támogatja a források újra felhasználását. Vannak vizsgához kötött kurzusok, és jelentkezés alapján lehet csatlakozni, amellyel jelszó is jár a tartalmak használatához</a:t>
            </a:r>
            <a:endParaRPr lang="hu-H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2008 körül indult nagy egyetemek - </a:t>
            </a:r>
            <a:r>
              <a:rPr lang="hu-HU" sz="2000" u="sng" dirty="0">
                <a:latin typeface="Arial" panose="020B0604020202020204" pitchFamily="34" charset="0"/>
                <a:cs typeface="Arial" panose="020B0604020202020204" pitchFamily="34" charset="0"/>
                <a:hlinkClick r:id="rId2" tooltip="Stanford"/>
              </a:rPr>
              <a:t>Stanford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u="sng" dirty="0">
                <a:latin typeface="Arial" panose="020B0604020202020204" pitchFamily="34" charset="0"/>
                <a:cs typeface="Arial" panose="020B0604020202020204" pitchFamily="34" charset="0"/>
                <a:hlinkClick r:id="rId3" tooltip="Harvard"/>
              </a:rPr>
              <a:t>Harvard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u="sng" dirty="0">
                <a:latin typeface="Arial" panose="020B0604020202020204" pitchFamily="34" charset="0"/>
                <a:cs typeface="Arial" panose="020B0604020202020204" pitchFamily="34" charset="0"/>
                <a:hlinkClick r:id="rId4" tooltip="Massachusetts Institute of Technology"/>
              </a:rPr>
              <a:t>MIT </a:t>
            </a:r>
            <a:r>
              <a:rPr lang="hu-HU" sz="20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, stb.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kezdeményezésével, mára gazdag, választható képzési tematikáv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Közösségi média eszközökre épül (</a:t>
            </a:r>
            <a:r>
              <a:rPr lang="hu-H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log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, fórum, chat, stb.) speciális kommunikációs megoldásokkal, web és portál szolgáltatásokk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Formák: Online fórum, </a:t>
            </a:r>
            <a:r>
              <a:rPr lang="hu-HU" sz="2000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bcast</a:t>
            </a:r>
            <a:r>
              <a:rPr lang="hu-HU" sz="20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(előre felvett tananyaggal), </a:t>
            </a:r>
            <a:r>
              <a:rPr lang="hu-HU" sz="2000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ebinar</a:t>
            </a:r>
            <a:r>
              <a:rPr lang="hu-HU" sz="20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– elő előadás, élő kapcsolattal, kérdezési lehetőséggel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8733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MOOC – 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assive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 Open Online 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urse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 - Internet, 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ocial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etworking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, Online 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2</a:t>
            </a:fld>
            <a:endParaRPr lang="en-US" dirty="0"/>
          </a:p>
        </p:txBody>
      </p:sp>
      <p:pic>
        <p:nvPicPr>
          <p:cNvPr id="5" name="Tartalom helye 4" descr="Internet, Social Networking, Online Learning&#10;&#10;Networked Teacher Diagram – Update by Alec Couros CC BY-NC-SA&#10;&#10; "/>
          <p:cNvPicPr>
            <a:picLocks noGrp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11" t="17375" r="21848" b="4363"/>
          <a:stretch/>
        </p:blipFill>
        <p:spPr bwMode="auto">
          <a:xfrm>
            <a:off x="605941" y="1453375"/>
            <a:ext cx="3883704" cy="373249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Kép 5" descr="Need to have MOOCs from different        parts of the world     (export, not only import) 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3535" y="1403821"/>
            <a:ext cx="4343354" cy="396347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églalap 6"/>
          <p:cNvSpPr/>
          <p:nvPr/>
        </p:nvSpPr>
        <p:spPr>
          <a:xfrm>
            <a:off x="123337" y="5207443"/>
            <a:ext cx="5100197" cy="619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tabLst>
                <a:tab pos="1513840" algn="l"/>
              </a:tabLst>
            </a:pPr>
            <a:r>
              <a:rPr lang="hu-HU" sz="1600" u="sng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http://www.slideshare.net/Paul_Stacey/uct-pedagogyof-moocs</a:t>
            </a:r>
            <a:endParaRPr lang="hu-H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Téglalap 7"/>
          <p:cNvSpPr/>
          <p:nvPr/>
        </p:nvSpPr>
        <p:spPr>
          <a:xfrm>
            <a:off x="5223535" y="4914489"/>
            <a:ext cx="4687568" cy="619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tabLst>
                <a:tab pos="1513840" algn="l"/>
              </a:tabLst>
            </a:pPr>
            <a:r>
              <a:rPr lang="hu-HU" sz="1600" u="sng" dirty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http://www.slideshare.net/gsiemens/designing-and-running-a-mooc</a:t>
            </a:r>
            <a:endParaRPr lang="hu-H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Szövegdoboz 1"/>
          <p:cNvSpPr txBox="1"/>
          <p:nvPr/>
        </p:nvSpPr>
        <p:spPr>
          <a:xfrm>
            <a:off x="150391" y="5888998"/>
            <a:ext cx="9760712" cy="16722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prstClr val="black"/>
            </a:solidFill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u-HU" sz="1800" dirty="0">
                <a:solidFill>
                  <a:schemeClr val="tx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MOOC központi web oldala oktatási ajánlatokat, kommunikációs és regisztrációs lehetőséget nyújt. Integrálja a közösségi média lehetőségeit, </a:t>
            </a:r>
            <a:r>
              <a:rPr lang="hu-HU" sz="1800" dirty="0" smtClean="0">
                <a:solidFill>
                  <a:schemeClr val="tx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zakértőt </a:t>
            </a:r>
            <a:r>
              <a:rPr lang="hu-HU" sz="1800" dirty="0">
                <a:solidFill>
                  <a:schemeClr val="tx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és szabad elérésű online forrásokat biztosít </a:t>
            </a:r>
            <a:r>
              <a:rPr lang="hu-HU" sz="1800" dirty="0" smtClean="0">
                <a:solidFill>
                  <a:schemeClr val="tx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zoknak, </a:t>
            </a:r>
            <a:r>
              <a:rPr lang="hu-HU" sz="1800" dirty="0">
                <a:solidFill>
                  <a:schemeClr val="tx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kik önmaguk szervezik képzéseiket egy közösségi web helyen saját képzettségének és egyéni adottságainak figyelembe </a:t>
            </a:r>
            <a:r>
              <a:rPr lang="hu-HU" sz="1800" dirty="0" smtClean="0">
                <a:solidFill>
                  <a:schemeClr val="tx1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ételével.</a:t>
            </a:r>
          </a:p>
        </p:txBody>
      </p:sp>
    </p:spTree>
    <p:extLst>
      <p:ext uri="{BB962C8B-B14F-4D97-AF65-F5344CB8AC3E}">
        <p14:creationId xmlns:p14="http://schemas.microsoft.com/office/powerpoint/2010/main" val="177287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Tendenciák – súlyos különbségek használatban, lehetőségekben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60032" y="1320534"/>
            <a:ext cx="9364631" cy="6121275"/>
          </a:xfrm>
          <a:solidFill>
            <a:schemeClr val="bg1"/>
          </a:solidFill>
        </p:spPr>
        <p:txBody>
          <a:bodyPr/>
          <a:lstStyle/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re gyorsabb avulás a tudomány és technika gyors fejlődése miatt  </a:t>
            </a:r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banizáció – városi tömörülés, leszakadó nemzedékek és  régiók, hontalanok</a:t>
            </a:r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zpontosítás mellett  szigetszerű fejlesztések, alacsony kooperáció, újrakezdések</a:t>
            </a:r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pír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yett pixeleken terjed az információ: pl.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ságvásárlások csökkenése</a:t>
            </a:r>
            <a:endParaRPr lang="hu-HU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dia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alma nő,  a tradicionális médiát váltják az újak: 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ki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eet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, mobil</a:t>
            </a:r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zumeráció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kontroll csoportok információterjesztése, visszaható igények Csináld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ad – részvétel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artalom és a rendszerek előállításában, web2.0</a:t>
            </a:r>
          </a:p>
          <a:p>
            <a:pPr marL="285750" indent="-28575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élyegyenlőség csökken, leszakadók rétegei</a:t>
            </a:r>
            <a:endParaRPr lang="hu-HU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kai hozzáférés társadalmi, szociális különbségekkel</a:t>
            </a:r>
            <a:endParaRPr lang="hu-HU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15011" indent="-315011"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et és mobil, mint platform és munkaeszköz, virtuális és mobil iroda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rtuális gazdaság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ávmunka – informatikai hátteret kíván</a:t>
            </a:r>
            <a:endParaRPr lang="hu-HU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15011" indent="-315011">
              <a:buFont typeface="Arial" panose="020B0604020202020204" pitchFamily="34" charset="0"/>
              <a:buChar char="•"/>
              <a:defRPr/>
            </a:pP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ble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ices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kézi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zközök kreatív használata,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hone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roid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ad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berry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b. – eszközfüggő a sebesség, a lehetőség és a kapacitás</a:t>
            </a:r>
          </a:p>
          <a:p>
            <a:pPr marL="315011" indent="-315011"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 – nyílt hozzáférés intézményi és személyi lehetőségek, fejlődő országok</a:t>
            </a:r>
            <a:endParaRPr lang="hu-H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3316" name="Dátum helye 3"/>
          <p:cNvSpPr>
            <a:spLocks noGrp="1"/>
          </p:cNvSpPr>
          <p:nvPr>
            <p:ph type="dt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819028" indent="-315011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260043" indent="-252009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764060" indent="-252009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268078" indent="-252009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772095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3276112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780130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4284147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309BE83A-670F-431B-8A37-215DBA407861}" type="datetime1">
              <a:rPr lang="en-US" altLang="hu-HU" smtClean="0">
                <a:latin typeface="Tele-GroteskNor" pitchFamily="2" charset="0"/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5/23/2019</a:t>
            </a:fld>
            <a:endParaRPr lang="en-US" altLang="hu-HU" dirty="0" smtClean="0"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3694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A humán tényező erősödése: digitális bölcsészet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60000" y="1023035"/>
            <a:ext cx="9503528" cy="6538228"/>
          </a:xfrm>
          <a:solidFill>
            <a:schemeClr val="bg1"/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ális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ölcsészet (</a:t>
            </a:r>
            <a:r>
              <a:rPr lang="hu-HU" sz="200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ities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DH)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méletileg </a:t>
            </a:r>
            <a:r>
              <a:rPr lang="hu-HU" sz="2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gyakorlatban is változó tartalmat hordozott fejlődése során</a:t>
            </a:r>
            <a:r>
              <a:rPr lang="hu-HU" sz="20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hu-HU" sz="2000" b="1" dirty="0" smtClean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2" indent="-285750">
              <a:spcBef>
                <a:spcPts val="1200"/>
              </a:spcBef>
              <a:buClr>
                <a:schemeClr val="tx2"/>
              </a:buClr>
              <a:buSzTx/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igitalizálás publikáció is</a:t>
            </a:r>
            <a:r>
              <a:rPr lang="hu-HU" sz="20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lyben növekszik 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humán képességek szerepe </a:t>
            </a:r>
            <a:endParaRPr lang="hu-HU" sz="20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zövegek, képek és tartalmak elemzése új minőségi szemléletet kíván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H </a:t>
            </a:r>
            <a:r>
              <a:rPr lang="hu-HU" sz="2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 digitális média és a tradicionális bölcsészet találkozásának eredménye, amelynek során a digitális média új típusú eszközei és technikái hatnak a hagyományos bölcsészetre, és utóbbi követelmények hatással vannak a digitális médiára is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( </a:t>
            </a:r>
            <a:r>
              <a:rPr lang="hu-HU" sz="2000" dirty="0" err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thleen</a:t>
            </a:r>
            <a:r>
              <a:rPr lang="hu-HU" sz="2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tzpatrick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 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rlátozható a hagyományos bölcsész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adatokra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tással van minden </a:t>
            </a:r>
            <a:r>
              <a:rPr lang="hu-HU" sz="2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ölcsész területre és a társadalomtudományokra is (pl. a történelem, antropológia, művészetek, építészet, informatika, 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cheológia</a:t>
            </a:r>
            <a:r>
              <a:rPr lang="hu-HU" sz="2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földrajza, néprajz, film és egyéb média fajták, stb.). </a:t>
            </a:r>
            <a:endParaRPr lang="hu-HU" sz="2000" dirty="0" smtClean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őségi nézőpont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igitális formában megjelenő kulturális örökséget az egymást radikálisan átható kulturális, technológiai, tudományos és társadalmi jelenségként kezeli  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llaboráció  - alapvető és értelemszerű DH jellegzetesség</a:t>
            </a:r>
            <a:r>
              <a:rPr lang="hu-HU" sz="2000" b="1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t a módszerek és a tudományosság átvehető, újra hasznosítható</a:t>
            </a:r>
            <a:endParaRPr lang="hu-HU" sz="20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53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60000" y="279880"/>
            <a:ext cx="9364663" cy="588082"/>
          </a:xfrm>
        </p:spPr>
        <p:txBody>
          <a:bodyPr/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ities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ibraries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 - intelligens rendszerek és fenntartható fejlődés</a:t>
            </a:r>
            <a:b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5</a:t>
            </a:fld>
            <a:endParaRPr lang="en-US" dirty="0"/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8975" y="848855"/>
            <a:ext cx="4291650" cy="5214458"/>
          </a:xfrm>
          <a:prstGeom prst="rect">
            <a:avLst/>
          </a:prstGeom>
        </p:spPr>
      </p:pic>
      <p:sp>
        <p:nvSpPr>
          <p:cNvPr id="8" name="Tartalom helye 2"/>
          <p:cNvSpPr>
            <a:spLocks noGrp="1"/>
          </p:cNvSpPr>
          <p:nvPr>
            <p:ph idx="1"/>
          </p:nvPr>
        </p:nvSpPr>
        <p:spPr>
          <a:xfrm>
            <a:off x="119488" y="1463423"/>
            <a:ext cx="5845214" cy="567691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ális 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 és digitális város azonosságai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több elemből álló moduláris rendszerek, ERŐS ICT infrastruktúra, </a:t>
            </a:r>
            <a:r>
              <a:rPr lang="hu-H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ig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fejlődés.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térképezi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adatokat és 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ációkat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új minta megoldások, minta szolgáltatások, automatikus módszerek, </a:t>
            </a:r>
            <a:r>
              <a:rPr lang="hu-HU" sz="2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(azonosítás, kártya, kioszk, e-jegy, stb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fejlesztések fő célja </a:t>
            </a:r>
            <a:endParaRPr lang="hu-HU" sz="2000" dirty="0" smtClean="0">
              <a:solidFill>
                <a:schemeClr val="tx2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udásalapú környezet 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fejlődésének támogatása.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megjelenítés és közzététel, általános eléré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ájékozódás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, 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anulás, nyitottság, kényelem</a:t>
            </a:r>
            <a:r>
              <a:rPr lang="hu-HU" sz="20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, </a:t>
            </a:r>
            <a:r>
              <a:rPr lang="hu-HU" sz="20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ktív és „civil” </a:t>
            </a:r>
            <a:r>
              <a:rPr lang="hu-HU" sz="20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özösségek, </a:t>
            </a:r>
            <a:r>
              <a:rPr lang="hu-HU" sz="20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nyitott kulturális </a:t>
            </a:r>
            <a:r>
              <a:rPr lang="hu-HU" sz="20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erek, fenntartható fejlődé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életminőség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javítása</a:t>
            </a:r>
            <a:r>
              <a:rPr lang="hu-HU" sz="2000" dirty="0">
                <a:solidFill>
                  <a:srgbClr val="FF00F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, 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állampolgári </a:t>
            </a:r>
            <a:r>
              <a:rPr lang="hu-HU" sz="2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részvétel, </a:t>
            </a:r>
            <a:r>
              <a:rPr lang="hu-HU" sz="20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információk interaktivitásának támogatás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u-HU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5788975" y="6075624"/>
            <a:ext cx="3937638" cy="1224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dirty="0" smtClean="0">
                <a:solidFill>
                  <a:srgbClr val="00B05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Állampolgári tájékozottság és fenntartható fejlődés, zöldprogramok</a:t>
            </a:r>
          </a:p>
        </p:txBody>
      </p:sp>
    </p:spTree>
    <p:extLst>
      <p:ext uri="{BB962C8B-B14F-4D97-AF65-F5344CB8AC3E}">
        <p14:creationId xmlns:p14="http://schemas.microsoft.com/office/powerpoint/2010/main" val="394397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ternet of relations / Internet </a:t>
            </a:r>
            <a:r>
              <a:rPr lang="hu-HU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f </a:t>
            </a:r>
            <a:r>
              <a:rPr lang="hu-HU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hings</a:t>
            </a:r>
            <a:r>
              <a:rPr lang="hu-HU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(</a:t>
            </a:r>
            <a:r>
              <a:rPr lang="hu-HU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oT</a:t>
            </a:r>
            <a:r>
              <a:rPr lang="hu-HU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) – </a:t>
            </a:r>
            <a:br>
              <a:rPr lang="hu-HU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hu-HU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/>
            </a:r>
            <a:br>
              <a:rPr lang="hu-HU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hu-HU" sz="2400" b="1" dirty="0" smtClean="0">
                <a:solidFill>
                  <a:schemeClr val="accent3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egy új hálózati „</a:t>
            </a:r>
            <a:r>
              <a:rPr lang="hu-HU" sz="2400" b="1" dirty="0" err="1" smtClean="0">
                <a:solidFill>
                  <a:schemeClr val="accent3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cond</a:t>
            </a:r>
            <a:r>
              <a:rPr lang="hu-HU" sz="2400" b="1" dirty="0" smtClean="0">
                <a:solidFill>
                  <a:schemeClr val="accent3">
                    <a:lumMod val="75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life” ?</a:t>
            </a:r>
            <a:endParaRPr lang="hu-HU" sz="2400" b="1" dirty="0">
              <a:solidFill>
                <a:schemeClr val="accent3">
                  <a:lumMod val="7500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5" name="Tartalom helye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164" y="1794501"/>
            <a:ext cx="3641009" cy="3128483"/>
          </a:xfrm>
        </p:spPr>
      </p:pic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6</a:t>
            </a:fld>
            <a:endParaRPr lang="en-US" dirty="0"/>
          </a:p>
        </p:txBody>
      </p:sp>
      <p:sp>
        <p:nvSpPr>
          <p:cNvPr id="6" name="Szövegdoboz 5"/>
          <p:cNvSpPr txBox="1"/>
          <p:nvPr/>
        </p:nvSpPr>
        <p:spPr>
          <a:xfrm>
            <a:off x="4867835" y="926573"/>
            <a:ext cx="4856828" cy="581684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Internet of </a:t>
            </a:r>
            <a:r>
              <a:rPr lang="hu-HU" sz="18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ngs</a:t>
            </a: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hu-HU" sz="18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is kiterjeszti </a:t>
            </a:r>
            <a:r>
              <a:rPr lang="hu-H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érzékelésünket a beépített szenzorokkal, amelyek kommunikálnak más rendszerekkel, és üzeneteket továbbítanak ember és gép között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r>
              <a:rPr lang="hu-HU" sz="1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étegek</a:t>
            </a:r>
          </a:p>
          <a:p>
            <a: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  <a:t>Végponti eszközök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, szenzorok, </a:t>
            </a:r>
            <a:r>
              <a:rPr lang="hu-HU" sz="1800" dirty="0" err="1">
                <a:latin typeface="Arial" panose="020B0604020202020204" pitchFamily="34" charset="0"/>
                <a:cs typeface="Arial" panose="020B0604020202020204" pitchFamily="34" charset="0"/>
              </a:rPr>
              <a:t>RFID-címkék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dirty="0" err="1">
                <a:latin typeface="Arial" panose="020B0604020202020204" pitchFamily="34" charset="0"/>
                <a:cs typeface="Arial" panose="020B0604020202020204" pitchFamily="34" charset="0"/>
              </a:rPr>
              <a:t>webkamerák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, autós fedélzeti egység </a:t>
            </a:r>
            <a:r>
              <a:rPr lang="hu-HU" sz="1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ateway</a:t>
            </a:r>
            <a:r>
              <a:rPr lang="hu-H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hu-H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eszközök közötti 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átjárás</a:t>
            </a:r>
          </a:p>
          <a:p>
            <a: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  <a:t>Hálózat : 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Az összegyűjtött adatokat el kell juttatni a tároló és feldolgozó helyre</a:t>
            </a:r>
          </a:p>
          <a:p>
            <a: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  <a:t>Interfészek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 : A hálózaton beérkezett adatok értelmezése és egységesítése</a:t>
            </a:r>
          </a:p>
          <a:p>
            <a: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  <a:t>Tároló </a:t>
            </a:r>
            <a:r>
              <a:rPr lang="hu-H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endszerek </a:t>
            </a:r>
            <a: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  <a:t>– gyakran Big Data</a:t>
            </a:r>
          </a:p>
          <a:p>
            <a: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  <a:t>Feldolgozás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 : A végponti eszközökből begyűjtött információk szinkron módban</a:t>
            </a:r>
          </a:p>
          <a:p>
            <a: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  <a:t>Megjelenítés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 – kommunikációs rendszer, </a:t>
            </a:r>
            <a:r>
              <a:rPr lang="hu-H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interaktivitás</a:t>
            </a:r>
            <a:endParaRPr lang="hu-H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 smtClean="0"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360000" y="4965217"/>
            <a:ext cx="4333024" cy="18158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egszelídített </a:t>
            </a:r>
            <a:r>
              <a:rPr lang="hu-HU" sz="1600" b="1" dirty="0">
                <a:latin typeface="Arial" panose="020B0604020202020204" pitchFamily="34" charset="0"/>
                <a:cs typeface="Arial" panose="020B0604020202020204" pitchFamily="34" charset="0"/>
              </a:rPr>
              <a:t>adattenger </a:t>
            </a:r>
            <a:r>
              <a:rPr lang="hu-H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1600" dirty="0" err="1"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 világában szenzorok tömegéből nyert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datok automatikus tárolásával, keresésével,  elemzésével gyorsan jutunk információkhoz. </a:t>
            </a:r>
          </a:p>
          <a:p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1600" dirty="0" err="1"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 az adatok továbbításán túl magába foglalja az adatokra épülő analitikai megoldásokat </a:t>
            </a:r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endParaRPr lang="hu-HU" sz="1600" dirty="0"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619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82721" y="289899"/>
            <a:ext cx="9364663" cy="1032606"/>
          </a:xfrm>
        </p:spPr>
        <p:txBody>
          <a:bodyPr/>
          <a:lstStyle/>
          <a:p>
            <a:r>
              <a:rPr lang="hu-HU" altLang="hu-HU" dirty="0">
                <a:latin typeface="Arial" panose="020B0604020202020204" pitchFamily="34" charset="0"/>
                <a:cs typeface="Arial" panose="020B0604020202020204" pitchFamily="34" charset="0"/>
              </a:rPr>
              <a:t>„SMART” - gyorsabb, jobb, </a:t>
            </a:r>
            <a: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okosabb</a:t>
            </a:r>
            <a:b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digitális</a:t>
            </a:r>
            <a:r>
              <a:rPr lang="hu-HU" alt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technológiai váltások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96948" y="1475500"/>
            <a:ext cx="10036788" cy="62984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hu-HU" sz="20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ációs analitikai eszközök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szimulációs rendszerek hálózati és mobil eszközökkel eredmények optimalizálására, nagy teljesítményű vizuális eszközök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 </a:t>
            </a:r>
            <a:r>
              <a:rPr lang="hu-HU" sz="20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nagyadat alkalmazások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könyvtáraknál -  terra- és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ta-bájtok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új analitikai és minta-alapú stratégiák ugrásszerűen növekvő adatmennyiségek </a:t>
            </a:r>
            <a:endParaRPr lang="hu-HU" sz="20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memory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szerek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 az alkalmazások futtatása a fizikai  memóriában </a:t>
            </a:r>
            <a:endParaRPr lang="hu-HU" sz="20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20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felhőrendszerek további fejlődése - skálázható és rugalmas </a:t>
            </a:r>
            <a:endParaRPr lang="hu-HU" sz="20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mantikus 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reső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chnológia  – kép,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ó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deo keresések,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ématérképek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20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a szükségletek azonnali (digitális) kielégítése) </a:t>
            </a:r>
            <a:endParaRPr lang="hu-HU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zközök kommunikációja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már nem csak a </a:t>
            </a:r>
            <a:r>
              <a:rPr lang="hu-HU" sz="20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boardon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hatunk utasításokat, hanem hangokkal, képernyő érintéssel, mozdulatokkal is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tuális 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pasztalati ismeretek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termékalapú gazdaságtól a tapasztalat alapú gazdaság irányába, szimulált, virtuális valóság közvetítésével szerzünk új ismereteket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20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</a:t>
            </a:r>
            <a:r>
              <a:rPr 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fe”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ípusú információs anyagok,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édletek, „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de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hu-H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7</a:t>
            </a:fld>
            <a:endParaRPr lang="en-US" dirty="0"/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4813" y="155256"/>
            <a:ext cx="1642571" cy="1167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510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llipszis 6"/>
          <p:cNvSpPr/>
          <p:nvPr/>
        </p:nvSpPr>
        <p:spPr>
          <a:xfrm>
            <a:off x="9143442" y="5836134"/>
            <a:ext cx="826926" cy="77967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sp>
        <p:nvSpPr>
          <p:cNvPr id="4" name="AutoShape 2" descr="Képtalálat a következőre: „data everywhere pictures”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3" name="AutoShape 8" descr="Képtalálat a következőre: „thank you for attention picture”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155575" y="-28098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3" name="Szövegdoboz 2"/>
          <p:cNvSpPr txBox="1"/>
          <p:nvPr/>
        </p:nvSpPr>
        <p:spPr>
          <a:xfrm>
            <a:off x="128442" y="865644"/>
            <a:ext cx="9597797" cy="2685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4000" b="1" dirty="0" smtClean="0">
                <a:solidFill>
                  <a:schemeClr val="tx2"/>
                </a:solidFill>
                <a:latin typeface="Arial Black" panose="020B0A04020102020204" pitchFamily="34" charset="0"/>
                <a:ea typeface="Swagger" pitchFamily="2" charset="0"/>
              </a:rPr>
              <a:t>A JÖVŐD A KÖNYVTÁRADBAN, 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4000" b="1" dirty="0" smtClean="0">
                <a:solidFill>
                  <a:schemeClr val="tx2"/>
                </a:solidFill>
                <a:latin typeface="Arial Black" panose="020B0A04020102020204" pitchFamily="34" charset="0"/>
                <a:ea typeface="Swagger" pitchFamily="2" charset="0"/>
              </a:rPr>
              <a:t>a digitális városodban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4000" b="1" dirty="0" smtClean="0">
                <a:solidFill>
                  <a:schemeClr val="tx2"/>
                </a:solidFill>
                <a:latin typeface="Arial Black" panose="020B0A04020102020204" pitchFamily="34" charset="0"/>
                <a:ea typeface="Swagger" pitchFamily="2" charset="0"/>
              </a:rPr>
              <a:t> és a fenntartható fejlődésben  VAN!</a:t>
            </a:r>
          </a:p>
        </p:txBody>
      </p:sp>
      <p:pic>
        <p:nvPicPr>
          <p:cNvPr id="11" name="Kép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9568" y="3798259"/>
            <a:ext cx="2856671" cy="2286898"/>
          </a:xfrm>
          <a:prstGeom prst="rect">
            <a:avLst/>
          </a:prstGeom>
        </p:spPr>
      </p:pic>
      <p:pic>
        <p:nvPicPr>
          <p:cNvPr id="8" name="Kép 7" descr="10 Important Predictions for the Future of IoT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5" y="4008966"/>
            <a:ext cx="3074052" cy="162122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zövegdoboz 1"/>
          <p:cNvSpPr txBox="1"/>
          <p:nvPr/>
        </p:nvSpPr>
        <p:spPr>
          <a:xfrm>
            <a:off x="3534427" y="6638745"/>
            <a:ext cx="5658843" cy="687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Köszönöm a figyelmet!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ea typeface="Swagger" pitchFamily="2" charset="0"/>
              </a:rPr>
              <a:t> </a:t>
            </a:r>
            <a:r>
              <a:rPr lang="hu-HU" sz="1800" dirty="0" err="1" smtClean="0">
                <a:ea typeface="Swagger" pitchFamily="2" charset="0"/>
              </a:rPr>
              <a:t>horvath.zoltanne</a:t>
            </a:r>
            <a:r>
              <a:rPr lang="hu-HU" sz="1800" dirty="0" smtClean="0">
                <a:ea typeface="Swagger" pitchFamily="2" charset="0"/>
              </a:rPr>
              <a:t>@</a:t>
            </a:r>
            <a:r>
              <a:rPr lang="hu-HU" sz="1800" dirty="0" err="1" smtClean="0">
                <a:ea typeface="Swagger" pitchFamily="2" charset="0"/>
              </a:rPr>
              <a:t>partner.t-systems.hu</a:t>
            </a:r>
            <a:endParaRPr lang="hu-HU" sz="1800" dirty="0" smtClean="0"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3126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Cím 1"/>
          <p:cNvSpPr>
            <a:spLocks noGrp="1"/>
          </p:cNvSpPr>
          <p:nvPr>
            <p:ph type="title"/>
          </p:nvPr>
        </p:nvSpPr>
        <p:spPr>
          <a:xfrm>
            <a:off x="294445" y="366821"/>
            <a:ext cx="9504233" cy="748236"/>
          </a:xfrm>
        </p:spPr>
        <p:txBody>
          <a:bodyPr/>
          <a:lstStyle/>
          <a:p>
            <a:r>
              <a:rPr lang="hu-HU" altLang="hu-HU" sz="2315" b="1" dirty="0" smtClean="0">
                <a:latin typeface="Arial" panose="020B0604020202020204" pitchFamily="34" charset="0"/>
                <a:cs typeface="Arial" panose="020B0604020202020204" pitchFamily="34" charset="0"/>
              </a:rPr>
              <a:t>Digitális hálózati koncentráció, minőségi változás, domináns könyvtári modell</a:t>
            </a:r>
            <a:br>
              <a:rPr lang="hu-HU" altLang="hu-HU" sz="2315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altLang="hu-HU" sz="2315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hu-HU" altLang="hu-HU" sz="2315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1" name="Dátum helye 3"/>
          <p:cNvSpPr>
            <a:spLocks noGrp="1"/>
          </p:cNvSpPr>
          <p:nvPr>
            <p:ph type="dt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614271" indent="-236258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945032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323045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1701058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079071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457084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2835097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213110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5B9729A9-4615-4030-ACE1-588F33B4669A}" type="datetime1">
              <a:rPr lang="en-US" altLang="hu-HU" smtClean="0">
                <a:latin typeface="Tele-GroteskNor" pitchFamily="2" charset="0"/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5/23/2019</a:t>
            </a:fld>
            <a:endParaRPr lang="en-US" altLang="hu-HU" smtClean="0">
              <a:latin typeface="Tele-GroteskNor" pitchFamily="2" charset="0"/>
            </a:endParaRPr>
          </a:p>
        </p:txBody>
      </p:sp>
      <p:sp>
        <p:nvSpPr>
          <p:cNvPr id="7173" name="Dia számának helye 5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614271" indent="-236258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945032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323045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1701058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079071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457084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2835097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213110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7B8EA901-9602-4794-8621-28C2997298CA}" type="slidenum">
              <a:rPr lang="en-US" altLang="hu-HU" smtClean="0">
                <a:latin typeface="Tele-GroteskNor" pitchFamily="2" charset="0"/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3</a:t>
            </a:fld>
            <a:endParaRPr lang="en-US" altLang="hu-HU" smtClean="0">
              <a:latin typeface="Tele-GroteskNor" pitchFamily="2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373090" y="1438211"/>
            <a:ext cx="2760075" cy="1006247"/>
          </a:xfrm>
          <a:prstGeom prst="roundRect">
            <a:avLst/>
          </a:prstGeom>
          <a:solidFill>
            <a:srgbClr val="7030A0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902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udás és információ hálózati és globális jellegű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3342710" y="1458518"/>
            <a:ext cx="3098432" cy="965631"/>
          </a:xfrm>
          <a:prstGeom prst="roundRect">
            <a:avLst/>
          </a:prstGeom>
          <a:solidFill>
            <a:schemeClr val="accent5">
              <a:lumMod val="2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ts val="1984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adatok és információk hálózata folyamatosan bővül</a:t>
            </a:r>
            <a:endParaRPr lang="hu-HU" sz="1800" b="1" dirty="0">
              <a:solidFill>
                <a:schemeClr val="tx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Lekerekített téglalap 11"/>
          <p:cNvSpPr/>
          <p:nvPr/>
        </p:nvSpPr>
        <p:spPr>
          <a:xfrm>
            <a:off x="373090" y="2713776"/>
            <a:ext cx="2760075" cy="1070988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8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hálózati adatok  visszamutatnak a könyvtári </a:t>
            </a:r>
            <a:r>
              <a:rPr lang="hu-HU" sz="1800" b="1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ttárakra</a:t>
            </a:r>
            <a:endParaRPr lang="hu-HU" sz="18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Lekerekített téglalap 12"/>
          <p:cNvSpPr/>
          <p:nvPr/>
        </p:nvSpPr>
        <p:spPr>
          <a:xfrm>
            <a:off x="6650687" y="1412441"/>
            <a:ext cx="3147991" cy="1057784"/>
          </a:xfrm>
          <a:prstGeom prst="roundRect">
            <a:avLst/>
          </a:prstGeom>
          <a:solidFill>
            <a:srgbClr val="FF99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8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leírási elemek hálózati kapcsolatai új tartalmakat generálnak</a:t>
            </a:r>
          </a:p>
        </p:txBody>
      </p:sp>
      <p:sp>
        <p:nvSpPr>
          <p:cNvPr id="10" name="Lekerekített téglalap 9"/>
          <p:cNvSpPr/>
          <p:nvPr/>
        </p:nvSpPr>
        <p:spPr>
          <a:xfrm>
            <a:off x="6786177" y="2754610"/>
            <a:ext cx="3012501" cy="1085801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800" b="1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web a könyvtárak működési és szolgáltatási platformjává vált</a:t>
            </a:r>
            <a:endParaRPr lang="hu-HU" sz="18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Lekerekített téglalap 4"/>
          <p:cNvSpPr/>
          <p:nvPr/>
        </p:nvSpPr>
        <p:spPr bwMode="gray">
          <a:xfrm>
            <a:off x="373090" y="4013009"/>
            <a:ext cx="2446351" cy="2947075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800" b="1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könyvtár domináns </a:t>
            </a:r>
            <a:r>
              <a:rPr lang="hu-HU" sz="1800" b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modell a digitális rendszerekb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800" b="1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értékelt, szabványos adatokat generál a hálón</a:t>
            </a:r>
            <a:endParaRPr lang="hu-HU" sz="18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19" name="Rounded Rectangle 7"/>
          <p:cNvSpPr/>
          <p:nvPr/>
        </p:nvSpPr>
        <p:spPr>
          <a:xfrm>
            <a:off x="3361076" y="2780818"/>
            <a:ext cx="3147991" cy="1006247"/>
          </a:xfrm>
          <a:prstGeom prst="roundRect">
            <a:avLst/>
          </a:prstGeom>
          <a:solidFill>
            <a:srgbClr val="7030A0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902"/>
              </a:lnSpc>
              <a:spcBef>
                <a:spcPct val="25000"/>
              </a:spcBef>
              <a:buClr>
                <a:schemeClr val="tx2"/>
              </a:buClr>
              <a:defRPr/>
            </a:pPr>
            <a:r>
              <a:rPr lang="hu-H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technológia és a használói igények meghatározzák  a könyvtári megújulást</a:t>
            </a:r>
            <a:endParaRPr lang="hu-H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Lekerekített téglalap 10"/>
          <p:cNvSpPr/>
          <p:nvPr/>
        </p:nvSpPr>
        <p:spPr bwMode="gray">
          <a:xfrm>
            <a:off x="3133165" y="3975652"/>
            <a:ext cx="6816486" cy="3305981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bővülő 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apcsolati háló minőségi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fejlődési lehetőségeket nyújt</a:t>
            </a:r>
          </a:p>
          <a:p>
            <a:pPr marL="538163" indent="-363538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</a:t>
            </a:r>
            <a:r>
              <a:rPr lang="hu-HU" sz="2000" b="1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z </a:t>
            </a:r>
            <a:r>
              <a:rPr lang="hu-HU" sz="20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információk keletkezésében, kezelésében és szétsugárzásában </a:t>
            </a:r>
            <a:endParaRPr lang="hu-HU" sz="2000" b="1" dirty="0" smtClean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538163" indent="-363538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</a:t>
            </a:r>
            <a:r>
              <a:rPr lang="hu-HU" sz="2000" b="1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rtalmában és kiterjedésében</a:t>
            </a:r>
            <a:endParaRPr lang="hu-HU" sz="2000" b="1" dirty="0">
              <a:solidFill>
                <a:schemeClr val="tx2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tudományos eredmények folytatásában, értékelésében, </a:t>
            </a:r>
            <a:r>
              <a:rPr lang="hu-HU" sz="2000" b="1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meghaladásában, használatában és elérhetőségében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technológiai szemlélet a minőség felé fordul</a:t>
            </a:r>
            <a:endParaRPr lang="hu-HU" sz="2000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16" name="Jobbra nyíl 15"/>
          <p:cNvSpPr/>
          <p:nvPr/>
        </p:nvSpPr>
        <p:spPr bwMode="gray">
          <a:xfrm>
            <a:off x="2633403" y="4233034"/>
            <a:ext cx="685800" cy="854246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86080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Cím 1"/>
          <p:cNvSpPr>
            <a:spLocks noGrp="1"/>
          </p:cNvSpPr>
          <p:nvPr>
            <p:ph type="title"/>
          </p:nvPr>
        </p:nvSpPr>
        <p:spPr>
          <a:xfrm>
            <a:off x="237223" y="289080"/>
            <a:ext cx="9364663" cy="880813"/>
          </a:xfrm>
        </p:spPr>
        <p:txBody>
          <a:bodyPr/>
          <a:lstStyle/>
          <a:p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b="1" dirty="0" smtClean="0">
                <a:latin typeface="Arial" panose="020B0604020202020204" pitchFamily="34" charset="0"/>
                <a:cs typeface="Arial" panose="020B0604020202020204" pitchFamily="34" charset="0"/>
              </a:rPr>
              <a:t>könyvtárak</a:t>
            </a:r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b="1" dirty="0" smtClean="0">
                <a:latin typeface="Arial" panose="020B0604020202020204" pitchFamily="34" charset="0"/>
                <a:cs typeface="Arial" panose="020B0604020202020204" pitchFamily="34" charset="0"/>
              </a:rPr>
              <a:t>a tudományok és a használók együtthatása a hálózaton</a:t>
            </a:r>
            <a:endParaRPr lang="hu-HU" altLang="hu-HU" sz="24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48" name="Dátum helye 3"/>
          <p:cNvSpPr>
            <a:spLocks noGrp="1"/>
          </p:cNvSpPr>
          <p:nvPr>
            <p:ph type="dt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819028" indent="-315011" eaLnBrk="0" hangingPunct="0">
              <a:lnSpc>
                <a:spcPct val="90000"/>
              </a:lnSpc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260043" indent="-252009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764060" indent="-252009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268078" indent="-252009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772095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3276112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780130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4284147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fld id="{109DE8A3-13F7-42F5-A53B-38EEB7147813}" type="datetime1">
              <a:rPr lang="en-US" altLang="hu-HU" smtClean="0">
                <a:latin typeface="Tele-GroteskNor" pitchFamily="2" charset="0"/>
              </a:rPr>
              <a:pPr eaLnBrk="1" hangingPunct="1">
                <a:lnSpc>
                  <a:spcPct val="100000"/>
                </a:lnSpc>
              </a:pPr>
              <a:t>5/23/2019</a:t>
            </a:fld>
            <a:endParaRPr lang="en-US" altLang="hu-HU" smtClean="0">
              <a:latin typeface="Tele-GroteskNor" pitchFamily="2" charset="0"/>
            </a:endParaRPr>
          </a:p>
        </p:txBody>
      </p:sp>
      <p:sp>
        <p:nvSpPr>
          <p:cNvPr id="6149" name="Dia számának helye 5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0000"/>
              </a:lnSpc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819028" indent="-315011" eaLnBrk="0" hangingPunct="0">
              <a:lnSpc>
                <a:spcPct val="90000"/>
              </a:lnSpc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260043" indent="-252009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764060" indent="-252009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268078" indent="-252009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772095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3276112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780130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4284147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fld id="{99F7DBB9-4AFB-4970-B7F8-B91DEE323895}" type="slidenum">
              <a:rPr lang="en-US" altLang="hu-HU">
                <a:latin typeface="Tele-GroteskNor" pitchFamily="2" charset="0"/>
              </a:rPr>
              <a:pPr eaLnBrk="1" hangingPunct="1">
                <a:lnSpc>
                  <a:spcPct val="100000"/>
                </a:lnSpc>
              </a:pPr>
              <a:t>4</a:t>
            </a:fld>
            <a:endParaRPr lang="en-US" altLang="hu-HU">
              <a:latin typeface="Tele-GroteskNor" pitchFamily="2" charset="0"/>
            </a:endParaRPr>
          </a:p>
        </p:txBody>
      </p:sp>
      <p:sp>
        <p:nvSpPr>
          <p:cNvPr id="6150" name="Szövegdoboz 1"/>
          <p:cNvSpPr txBox="1">
            <a:spLocks noChangeArrowheads="1"/>
          </p:cNvSpPr>
          <p:nvPr/>
        </p:nvSpPr>
        <p:spPr bwMode="auto">
          <a:xfrm>
            <a:off x="336020" y="4433423"/>
            <a:ext cx="9149567" cy="390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69875" indent="-26987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496"/>
              </a:spcAft>
              <a:buFont typeface="Wingdings" panose="05000000000000000000" pitchFamily="2" charset="2"/>
              <a:buChar char="§"/>
            </a:pPr>
            <a:endParaRPr lang="hu-HU" altLang="hu-HU" sz="2536"/>
          </a:p>
        </p:txBody>
      </p:sp>
      <p:sp>
        <p:nvSpPr>
          <p:cNvPr id="4" name="Tartalom helye 3"/>
          <p:cNvSpPr>
            <a:spLocks noGrp="1"/>
          </p:cNvSpPr>
          <p:nvPr>
            <p:ph idx="1"/>
          </p:nvPr>
        </p:nvSpPr>
        <p:spPr>
          <a:xfrm>
            <a:off x="237223" y="1487789"/>
            <a:ext cx="9632918" cy="6073473"/>
          </a:xfrm>
          <a:solidFill>
            <a:schemeClr val="bg1"/>
          </a:solidFill>
        </p:spPr>
        <p:txBody>
          <a:bodyPr/>
          <a:lstStyle/>
          <a:p>
            <a:pPr lvl="2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</a:t>
            </a:r>
            <a:r>
              <a:rPr lang="hu-HU" sz="2000" b="1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háló változása megmutatja a jelenségek dinamizmusának </a:t>
            </a:r>
            <a:r>
              <a:rPr lang="hu-HU" sz="2000" b="1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fokát</a:t>
            </a:r>
          </a:p>
          <a:p>
            <a:pPr marL="501650" lvl="2" indent="-285750" defTabSz="538163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összetétele </a:t>
            </a:r>
            <a:r>
              <a:rPr lang="hu-HU" sz="2000" b="1" dirty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ükrözi az adott tudomány jellegzetességeit, fejlődését. </a:t>
            </a:r>
            <a:endParaRPr lang="hu-HU" sz="2000" b="1" dirty="0" smtClean="0">
              <a:solidFill>
                <a:schemeClr val="accent1">
                  <a:lumMod val="5000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501650" lvl="2" indent="-285750" defTabSz="538163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</a:t>
            </a:r>
            <a:r>
              <a:rPr lang="hu-HU" sz="2000" b="1" dirty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hálóban felismerhetővé válnak az előzmények és következmények, a hiányok és a tömörülések, a </a:t>
            </a: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gszakadás, és az ismertség, aktualitá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udományos</a:t>
            </a:r>
            <a:r>
              <a:rPr lang="hu-HU" sz="2000" b="1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és társadalmi jelenségek plasztikus hálózati </a:t>
            </a:r>
            <a:r>
              <a:rPr lang="hu-HU" sz="2000" b="1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gjelenése </a:t>
            </a:r>
            <a:r>
              <a:rPr lang="hu-HU" sz="2000" b="1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endParaRPr lang="hu-HU" sz="2000" b="1" dirty="0">
              <a:solidFill>
                <a:schemeClr val="tx2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virtuális háló kiterjedése </a:t>
            </a:r>
            <a:r>
              <a:rPr lang="hu-HU" sz="2000" b="1" dirty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és mérete </a:t>
            </a: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érzékelhető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orábban </a:t>
            </a:r>
            <a:r>
              <a:rPr lang="hu-HU" sz="2000" b="1" dirty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térben elszigetelt személyek, intézmények és források </a:t>
            </a: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apcsolódnak </a:t>
            </a:r>
            <a:r>
              <a:rPr lang="hu-HU" sz="2000" b="1" dirty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előzőleg ismeretlen részletekkel, finomságokkal </a:t>
            </a: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, amely fejlődést eredményez</a:t>
            </a:r>
            <a:endParaRPr lang="hu-HU" sz="2000" b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2">
              <a:buFont typeface="Arial" panose="020B0604020202020204" pitchFamily="34" charset="0"/>
              <a:buChar char="•"/>
              <a:defRPr/>
            </a:pPr>
            <a:r>
              <a:rPr lang="hu-HU" alt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zdasági, életvezetési, megélhetési következmények</a:t>
            </a:r>
          </a:p>
          <a:p>
            <a:pPr lvl="3">
              <a:buFont typeface="Arial" panose="020B0604020202020204" pitchFamily="34" charset="0"/>
              <a:buChar char="•"/>
              <a:defRPr/>
            </a:pPr>
            <a:r>
              <a:rPr lang="hu-HU" altLang="hu-H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i </a:t>
            </a:r>
            <a:r>
              <a:rPr lang="hu-HU" altLang="hu-H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ncs jelen a digitális térben, </a:t>
            </a:r>
            <a:r>
              <a:rPr lang="hu-HU" altLang="hu-H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átrányba kerül</a:t>
            </a:r>
          </a:p>
          <a:p>
            <a:pPr lvl="3">
              <a:buFont typeface="Arial" panose="020B0604020202020204" pitchFamily="34" charset="0"/>
              <a:buChar char="•"/>
              <a:defRPr/>
            </a:pPr>
            <a:r>
              <a:rPr lang="hu-HU" altLang="hu-H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élkülözhetetlen hálózati tudásszerzés </a:t>
            </a:r>
            <a:r>
              <a:rPr lang="hu-HU" altLang="hu-H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vásárlás, állampolgári jogok gyakorlása)</a:t>
            </a:r>
          </a:p>
          <a:p>
            <a:pPr lvl="3">
              <a:buFont typeface="Arial" panose="020B0604020202020204" pitchFamily="34" charset="0"/>
              <a:buChar char="•"/>
              <a:defRPr/>
            </a:pPr>
            <a:r>
              <a:rPr lang="hu-HU" altLang="hu-H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ális </a:t>
            </a:r>
            <a:r>
              <a:rPr lang="hu-HU" altLang="hu-H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írástudás nélkül állampolgári kiszolgáltatottság </a:t>
            </a:r>
            <a:endParaRPr lang="hu-HU" altLang="hu-HU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Font typeface="Arial" panose="020B0604020202020204" pitchFamily="34" charset="0"/>
              <a:buChar char="•"/>
              <a:defRPr/>
            </a:pPr>
            <a:r>
              <a:rPr lang="hu-HU" alt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yorsaság kritikus tényezővé válik</a:t>
            </a:r>
          </a:p>
          <a:p>
            <a:pPr lvl="3">
              <a:buFont typeface="Arial" panose="020B0604020202020204" pitchFamily="34" charset="0"/>
              <a:buChar char="•"/>
              <a:defRPr/>
            </a:pPr>
            <a:r>
              <a:rPr lang="hu-HU" altLang="hu-H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altLang="hu-HU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</a:t>
            </a:r>
            <a:r>
              <a:rPr lang="hu-HU" altLang="hu-H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altLang="hu-HU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hu-HU" altLang="hu-H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altLang="hu-HU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</a:t>
            </a:r>
            <a:r>
              <a:rPr lang="hu-HU" altLang="hu-H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szolgáltatások, azonnali </a:t>
            </a:r>
            <a:r>
              <a:rPr lang="hu-HU" altLang="hu-H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álasz </a:t>
            </a:r>
            <a:r>
              <a:rPr lang="hu-HU" altLang="hu-H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énye, türelmetlenség</a:t>
            </a:r>
          </a:p>
          <a:p>
            <a:pPr lvl="3">
              <a:buFont typeface="Arial" panose="020B0604020202020204" pitchFamily="34" charset="0"/>
              <a:buChar char="•"/>
              <a:defRPr/>
            </a:pPr>
            <a:r>
              <a:rPr lang="hu-HU" altLang="hu-H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altLang="hu-H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vatalos és nem hivatalos </a:t>
            </a:r>
            <a:r>
              <a:rPr lang="hu-HU" altLang="hu-H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álaszadók – tömörülések, zavarok </a:t>
            </a:r>
            <a:endParaRPr lang="hu-HU" altLang="hu-HU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z információmenedzsment és a könyvtár feltérképezi </a:t>
            </a: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</a:t>
            </a:r>
            <a:r>
              <a:rPr lang="hu-HU" sz="2000" b="1" dirty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hálózati jelenségeket, a látható vagy feltárt törvényszerűségeket szétsugározza, bővíti, strukturálj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u-HU" dirty="0">
              <a:solidFill>
                <a:schemeClr val="accent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" name="Lefelé nyíl 5"/>
          <p:cNvSpPr/>
          <p:nvPr/>
        </p:nvSpPr>
        <p:spPr bwMode="gray">
          <a:xfrm>
            <a:off x="8144933" y="5325035"/>
            <a:ext cx="1725208" cy="1048871"/>
          </a:xfrm>
          <a:prstGeom prst="down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61587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Cím 1"/>
          <p:cNvSpPr>
            <a:spLocks noGrp="1"/>
          </p:cNvSpPr>
          <p:nvPr>
            <p:ph type="title"/>
          </p:nvPr>
        </p:nvSpPr>
        <p:spPr>
          <a:xfrm>
            <a:off x="276517" y="199002"/>
            <a:ext cx="9687754" cy="507531"/>
          </a:xfrm>
        </p:spPr>
        <p:txBody>
          <a:bodyPr/>
          <a:lstStyle/>
          <a:p>
            <a:r>
              <a:rPr lang="hu-HU" alt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Krízisek és könyvtári stratégiák változó környezetben</a:t>
            </a:r>
          </a:p>
        </p:txBody>
      </p:sp>
      <p:sp>
        <p:nvSpPr>
          <p:cNvPr id="8195" name="Tartalom helye 2"/>
          <p:cNvSpPr>
            <a:spLocks noGrp="1"/>
          </p:cNvSpPr>
          <p:nvPr>
            <p:ph idx="1"/>
          </p:nvPr>
        </p:nvSpPr>
        <p:spPr>
          <a:xfrm>
            <a:off x="33867" y="921251"/>
            <a:ext cx="9964271" cy="6640012"/>
          </a:xfrm>
          <a:solidFill>
            <a:schemeClr val="bg1"/>
          </a:solidFill>
          <a:ln>
            <a:solidFill>
              <a:srgbClr val="00B0F0"/>
            </a:solidFill>
          </a:ln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hu-HU" altLang="hu-HU" sz="2205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t- és információrobbanás mellett beszerzési krízis</a:t>
            </a:r>
          </a:p>
          <a:p>
            <a:pPr marL="558900" lvl="2" indent="-342900">
              <a:buFont typeface="Arial" panose="020B0604020202020204" pitchFamily="34" charset="0"/>
              <a:buChar char="•"/>
              <a:defRPr/>
            </a:pPr>
            <a:r>
              <a:rPr lang="hu-HU" alt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áttekintés egyre nehezebb (megváltozott a szerzőség, a hivatalos kiadóktól a „</a:t>
            </a:r>
            <a:r>
              <a:rPr lang="hu-HU" altLang="hu-HU" sz="20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f</a:t>
            </a:r>
            <a:r>
              <a:rPr lang="hu-HU" alt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publikációkig, megbízhatatlan minőség, e-book használati formák)</a:t>
            </a:r>
          </a:p>
          <a:p>
            <a:pPr marL="558900" lvl="2" indent="-342900">
              <a:buFont typeface="Arial" panose="020B0604020202020204" pitchFamily="34" charset="0"/>
              <a:buChar char="•"/>
              <a:defRPr/>
            </a:pPr>
            <a:r>
              <a:rPr lang="hu-HU" alt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zerzési krízis: csökkenő keretek, virtuális források, copyright, </a:t>
            </a:r>
            <a:r>
              <a:rPr lang="hu-HU" altLang="hu-HU" sz="20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rrent</a:t>
            </a:r>
            <a:endParaRPr lang="hu-HU" altLang="hu-HU" sz="20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hu-HU" altLang="hu-HU" sz="2205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hagyományos könyvtárosság</a:t>
            </a:r>
            <a:r>
              <a:rPr lang="hu-HU" altLang="hu-HU" sz="2205" b="1" dirty="0" smtClean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hu-HU" altLang="hu-HU" sz="2205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ízisek és stratégiák</a:t>
            </a:r>
          </a:p>
          <a:p>
            <a:pPr marL="558900" lvl="2" indent="-342900">
              <a:buFont typeface="Arial" panose="020B0604020202020204" pitchFamily="34" charset="0"/>
              <a:buChar char="•"/>
              <a:defRPr/>
            </a:pPr>
            <a:r>
              <a:rPr lang="hu-HU" alt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 szereplehetőségek és beilleszkedés, „</a:t>
            </a:r>
            <a:r>
              <a:rPr lang="hu-HU" altLang="hu-HU" sz="20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rd</a:t>
            </a:r>
            <a:r>
              <a:rPr lang="hu-HU" alt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altLang="hu-HU" sz="20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</a:t>
            </a:r>
            <a:r>
              <a:rPr lang="hu-HU" alt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, elismerés</a:t>
            </a:r>
          </a:p>
          <a:p>
            <a:pPr marL="558900" lvl="2" indent="-342900">
              <a:buFont typeface="Arial" panose="020B0604020202020204" pitchFamily="34" charset="0"/>
              <a:buChar char="•"/>
              <a:defRPr/>
            </a:pPr>
            <a:r>
              <a:rPr lang="hu-HU" alt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talakuló </a:t>
            </a:r>
            <a:r>
              <a:rPr lang="hu-HU" altLang="hu-H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petencia igények, </a:t>
            </a:r>
            <a:r>
              <a:rPr lang="hu-HU" alt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as technológiai függés, intellektuális „humán” követelmények, csoportos és egyéni </a:t>
            </a:r>
            <a:r>
              <a:rPr lang="hu-HU" altLang="hu-HU" sz="20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álás</a:t>
            </a:r>
            <a:endParaRPr lang="hu-HU" altLang="hu-HU" sz="20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58900" lvl="2" indent="-342900">
              <a:buFont typeface="Arial" panose="020B0604020202020204" pitchFamily="34" charset="0"/>
              <a:buChar char="•"/>
              <a:defRPr/>
            </a:pPr>
            <a:r>
              <a:rPr lang="hu-HU" altLang="hu-H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lang="hu-HU" alt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ználói és web szemlélet uralma, kontroll csoportok, „</a:t>
            </a:r>
            <a:r>
              <a:rPr lang="hu-HU" altLang="hu-HU" sz="20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fi</a:t>
            </a:r>
            <a:r>
              <a:rPr lang="hu-HU" alt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hu-HU" altLang="hu-HU" sz="2205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ználat  és elérhetőség krízise – nyílt hozzáférés </a:t>
            </a:r>
          </a:p>
          <a:p>
            <a:pPr marL="558900" lvl="2" indent="-342900">
              <a:buFont typeface="Arial" panose="020B0604020202020204" pitchFamily="34" charset="0"/>
              <a:buChar char="•"/>
              <a:defRPr/>
            </a:pPr>
            <a:r>
              <a:rPr lang="hu-HU" altLang="hu-H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igitális írástudatlanságtól az azonnali önálló igénybevétel képességéig</a:t>
            </a:r>
          </a:p>
          <a:p>
            <a:pPr marL="558900" lvl="2" indent="-342900">
              <a:buFont typeface="Arial" panose="020B0604020202020204" pitchFamily="34" charset="0"/>
              <a:buChar char="•"/>
              <a:defRPr/>
            </a:pPr>
            <a:r>
              <a:rPr lang="hu-HU" altLang="hu-H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ergens technológiai környezet, változó médiák, platformok, „kütyük”</a:t>
            </a:r>
          </a:p>
          <a:p>
            <a:pPr marL="558900" lvl="2" indent="-342900">
              <a:buFont typeface="Arial" panose="020B0604020202020204" pitchFamily="34" charset="0"/>
              <a:buChar char="•"/>
              <a:defRPr/>
            </a:pPr>
            <a:r>
              <a:rPr lang="hu-HU" altLang="hu-H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ális műveltség követelménye a használatban – felkészülési trendek</a:t>
            </a:r>
            <a:endParaRPr lang="hu-HU" altLang="hu-H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agy könyvtárak és könyvtári intézmények kooperatív megoldásai 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sz="20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hu-HU" sz="20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inencia</a:t>
            </a: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és kooperációs </a:t>
            </a:r>
            <a:r>
              <a:rPr lang="hu-H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ógiája - egy szélesebb ívű szolgáltatásrendszer kialakítása (OCLC, LC, </a:t>
            </a:r>
            <a:r>
              <a:rPr lang="hu-HU" sz="20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quest</a:t>
            </a:r>
            <a:r>
              <a:rPr lang="hu-H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tb.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zolgáltatások mérete és komplexitása </a:t>
            </a:r>
            <a:r>
              <a:rPr lang="hu-H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ltérő kultúrák és gyakorlatok</a:t>
            </a:r>
            <a:endParaRPr lang="hu-HU" sz="20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80720" lvl="2" indent="-283510">
              <a:buFont typeface="Arial" panose="020B0604020202020204" pitchFamily="34" charset="0"/>
              <a:buChar char="•"/>
            </a:pPr>
            <a:endParaRPr lang="hu-H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58900" lvl="2" indent="-342900">
              <a:buFont typeface="Arial" panose="020B0604020202020204" pitchFamily="34" charset="0"/>
              <a:buChar char="•"/>
              <a:defRPr/>
            </a:pPr>
            <a:endParaRPr lang="hu-HU" altLang="hu-HU" sz="2000" b="1" dirty="0" smtClean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hu-HU" altLang="hu-HU" dirty="0" smtClean="0"/>
          </a:p>
        </p:txBody>
      </p:sp>
      <p:sp>
        <p:nvSpPr>
          <p:cNvPr id="14340" name="Dátum helye 3"/>
          <p:cNvSpPr>
            <a:spLocks noGrp="1"/>
          </p:cNvSpPr>
          <p:nvPr>
            <p:ph type="dt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819028" indent="-315011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260043" indent="-252009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764060" indent="-252009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268078" indent="-252009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772095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3276112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780130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4284147" indent="-252009" defTabSz="504017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3A56EB36-960C-4C50-BD65-6B2B780D0CAC}" type="datetime1">
              <a:rPr lang="en-US" altLang="hu-HU" smtClean="0">
                <a:latin typeface="Tele-GroteskNor" pitchFamily="2" charset="0"/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5/23/2019</a:t>
            </a:fld>
            <a:endParaRPr lang="en-US" altLang="hu-HU" dirty="0" smtClean="0"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7834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329187" y="303869"/>
            <a:ext cx="9577634" cy="38064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hu-HU" altLang="hu-HU" sz="2646" dirty="0" smtClean="0">
                <a:latin typeface="Arial" panose="020B0604020202020204" pitchFamily="34" charset="0"/>
                <a:cs typeface="Arial" panose="020B0604020202020204" pitchFamily="34" charset="0"/>
              </a:rPr>
              <a:t>„Data of web” a leírás alapegysége nem a rekord, hanem az adat - újra </a:t>
            </a:r>
            <a:r>
              <a:rPr lang="hu-HU" altLang="hu-HU" sz="2646" dirty="0">
                <a:latin typeface="Arial" panose="020B0604020202020204" pitchFamily="34" charset="0"/>
                <a:cs typeface="Arial" panose="020B0604020202020204" pitchFamily="34" charset="0"/>
              </a:rPr>
              <a:t>definiált katalogizálás </a:t>
            </a:r>
            <a:r>
              <a:rPr lang="hu-HU" altLang="hu-HU" sz="1984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altLang="hu-HU" sz="1984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altLang="hu-HU" sz="198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43" name="Content Placeholder 2"/>
          <p:cNvSpPr>
            <a:spLocks noGrp="1"/>
          </p:cNvSpPr>
          <p:nvPr>
            <p:ph idx="1"/>
          </p:nvPr>
        </p:nvSpPr>
        <p:spPr>
          <a:xfrm>
            <a:off x="6210574" y="1491085"/>
            <a:ext cx="3551991" cy="3659139"/>
          </a:xfrm>
          <a:solidFill>
            <a:schemeClr val="bg1"/>
          </a:solidFill>
          <a:ln>
            <a:solidFill>
              <a:schemeClr val="tx2"/>
            </a:solidFill>
          </a:ln>
        </p:spPr>
        <p:txBody>
          <a:bodyPr/>
          <a:lstStyle/>
          <a:p>
            <a:pPr marL="427890" lvl="2" indent="-280885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altLang="hu-HU" sz="1654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i adatok, mint entitások</a:t>
            </a:r>
          </a:p>
          <a:p>
            <a:pPr marL="427890" lvl="2" indent="-280885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altLang="hu-HU" sz="1654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séges, strukturált, nyílt, átvehető  hálózati adatok (</a:t>
            </a:r>
            <a:r>
              <a:rPr lang="hu-HU" altLang="hu-HU" sz="1654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rző, mű, szervezet, tárgyszó, hely, időpont), </a:t>
            </a:r>
          </a:p>
          <a:p>
            <a:pPr marL="823700" lvl="4" indent="-280885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altLang="hu-HU" sz="1654" dirty="0">
                <a:solidFill>
                  <a:srgbClr val="33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altLang="hu-HU" sz="1654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i adatok összekapcsolása web helyekkel (URI)</a:t>
            </a:r>
          </a:p>
          <a:p>
            <a:pPr marL="873904" lvl="4" indent="-280885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altLang="hu-HU" sz="1654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öbbféle adatmetszet létrehozása (VIAF, ISNI, WIKIDATA) -</a:t>
            </a:r>
            <a:r>
              <a:rPr lang="hu-HU" altLang="hu-HU" sz="1654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ghatározott és azonos logika szerint</a:t>
            </a:r>
          </a:p>
          <a:p>
            <a:pPr marL="280885" lvl="4" indent="-280885">
              <a:lnSpc>
                <a:spcPct val="100000"/>
              </a:lnSpc>
              <a:buSzTx/>
              <a:buFont typeface="Arial" panose="020B0604020202020204" pitchFamily="34" charset="0"/>
              <a:buChar char="•"/>
            </a:pPr>
            <a:r>
              <a:rPr lang="hu-HU" altLang="hu-HU" sz="1654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ővíthető források „linkelése” a nyílt adatokhoz </a:t>
            </a:r>
          </a:p>
        </p:txBody>
      </p:sp>
      <p:sp>
        <p:nvSpPr>
          <p:cNvPr id="10244" name="Date Placeholder 3"/>
          <p:cNvSpPr>
            <a:spLocks noGrp="1"/>
          </p:cNvSpPr>
          <p:nvPr>
            <p:ph type="dt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614271" indent="-236258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945032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323045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1701058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079071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457084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2835097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213110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C2EB66EE-EDF6-4139-A8B9-28039DD41EE0}" type="datetime1">
              <a:rPr lang="en-US" altLang="hu-HU" smtClean="0">
                <a:latin typeface="Tele-GroteskNor" pitchFamily="2" charset="0"/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5/23/2019</a:t>
            </a:fld>
            <a:endParaRPr lang="en-US" altLang="hu-HU" smtClean="0">
              <a:latin typeface="Tele-GroteskNor" pitchFamily="2" charset="0"/>
            </a:endParaRPr>
          </a:p>
        </p:txBody>
      </p:sp>
      <p:sp>
        <p:nvSpPr>
          <p:cNvPr id="1024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614271" indent="-236258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945032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323045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1701058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079071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457084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2835097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213110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3630AC50-52BB-4B34-9E56-A2CEB8F3A46E}" type="slidenum">
              <a:rPr lang="en-US" altLang="hu-HU" smtClean="0">
                <a:latin typeface="Tele-GroteskNor" pitchFamily="2" charset="0"/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6</a:t>
            </a:fld>
            <a:endParaRPr lang="en-US" altLang="hu-HU" smtClean="0">
              <a:latin typeface="Tele-GroteskNor" pitchFamily="2" charset="0"/>
            </a:endParaRPr>
          </a:p>
        </p:txBody>
      </p:sp>
      <p:sp>
        <p:nvSpPr>
          <p:cNvPr id="2" name="Téglalap 1"/>
          <p:cNvSpPr/>
          <p:nvPr/>
        </p:nvSpPr>
        <p:spPr>
          <a:xfrm>
            <a:off x="1" y="1507983"/>
            <a:ext cx="5741894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ata of web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–a standardizálható adatok webje, amelyek különböző szabványos formátumokban jelenhetnek meg (pl. FRBR, RDA, RDF, stb.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</a:t>
            </a:r>
            <a:r>
              <a:rPr lang="hu-HU" sz="2000" i="1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linked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hu-HU" sz="2000" dirty="0" err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ata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és vele kapcsolatban az egyéb szemantikus web technológiák növelik a kereshetőség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lehetőségei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É</a:t>
            </a: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rtékelt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és elemzett adatvagyon </a:t>
            </a:r>
            <a:endParaRPr lang="hu-HU" sz="2000" dirty="0" smtClean="0">
              <a:solidFill>
                <a:schemeClr val="tx2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861822" lvl="1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cserélhető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, átvehető,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iegészíthető</a:t>
            </a:r>
          </a:p>
          <a:p>
            <a:pPr marL="861822" lvl="1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értékké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válik– és újraelőállításuk helyett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lkalmazásuk,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iegészítésük válik gyakorlattá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Nemzetközi 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együttműködésben 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létrehozott </a:t>
            </a:r>
            <a:r>
              <a:rPr lang="hu-HU" sz="2000" i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uthority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rendszerek</a:t>
            </a:r>
          </a:p>
          <a:p>
            <a:pPr marL="861822" lvl="1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értékelt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, </a:t>
            </a:r>
            <a:r>
              <a:rPr lang="hu-HU" sz="20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uditált</a:t>
            </a: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, kodifikált </a:t>
            </a:r>
            <a:endParaRPr lang="hu-HU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861822" lvl="1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Lokális alkalmazások – helyi kiegészítésekkel – bővülő adatkörök </a:t>
            </a:r>
            <a:endParaRPr lang="hu-HU" sz="20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8" name="Tartalom helye 4"/>
          <p:cNvPicPr>
            <a:picLocks/>
          </p:cNvPicPr>
          <p:nvPr/>
        </p:nvPicPr>
        <p:blipFill rotWithShape="1">
          <a:blip r:embed="rId3"/>
          <a:srcRect l="2752" t="23988" r="20635" b="4696"/>
          <a:stretch/>
        </p:blipFill>
        <p:spPr bwMode="auto">
          <a:xfrm>
            <a:off x="5324686" y="5545982"/>
            <a:ext cx="4582135" cy="1831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Szövegdoboz 2"/>
          <p:cNvSpPr txBox="1"/>
          <p:nvPr/>
        </p:nvSpPr>
        <p:spPr>
          <a:xfrm>
            <a:off x="6879101" y="7055403"/>
            <a:ext cx="2307101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VIAF, ISNI, </a:t>
            </a:r>
            <a:r>
              <a:rPr lang="hu-HU" sz="1800" dirty="0" err="1" smtClean="0"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Wikidata</a:t>
            </a:r>
            <a:endParaRPr lang="hu-HU" sz="1800" dirty="0" smtClean="0"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5262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685" y="261764"/>
            <a:ext cx="9720625" cy="588082"/>
          </a:xfrm>
        </p:spPr>
        <p:txBody>
          <a:bodyPr/>
          <a:lstStyle/>
          <a:p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datgazdag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 intézmények a digitális hálókban -  szemantikus web fejlődési irány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79686" y="1469435"/>
            <a:ext cx="9720625" cy="551067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tgazdag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ézmények </a:t>
            </a:r>
            <a:endParaRPr lang="hu-HU" sz="20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ak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kutatóintézetek, múzeumok, 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chívumok 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éltárak 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tmenedzsment 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vékenysége nélkülözhetetlen a digitális hálózatok működéséb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zemantikus 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a könyvtári adat- és információmenedzsment 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hálózaton megjelenített könyvtári adatok megteremtik 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információforrások hálózati (automatikus) kezelésének, egységesítésének, és a világszintű tudáshálók létrehozásának 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hetőségét és keretrendszerét – 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sősorban az </a:t>
            </a:r>
            <a:r>
              <a:rPr lang="hu-HU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</a:t>
            </a:r>
            <a:r>
              <a:rPr lang="hu-H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nked </a:t>
            </a:r>
            <a:r>
              <a:rPr lang="hu-HU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abályok és eljárások alapján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(FRBR, RDF, RDA, URI, SKOS, stb.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zabványos </a:t>
            </a:r>
            <a:r>
              <a:rPr lang="hu-HU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tsémák </a:t>
            </a: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áf szerkezete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yamatosan és új jelentéstartalmakkal 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zemantika)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ővül az adatelemekhez csatolható információforrások növekedése alapjá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kalmasak 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épi olvasásra és automatikus </a:t>
            </a: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telmezésr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tkapcsolatokba beépíthetjük a könyvtárhoz vezető automatikus útvonalakat </a:t>
            </a:r>
            <a:endParaRPr lang="hu-HU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1463" lvl="2" indent="-271463">
              <a:buFont typeface="Arial" panose="020B0604020202020204" pitchFamily="34" charset="0"/>
              <a:buChar char="•"/>
            </a:pPr>
            <a:r>
              <a:rPr lang="hu-HU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. hálózattudomány </a:t>
            </a:r>
            <a:r>
              <a:rPr lang="hu-HU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jlődésének könyvtári tendenciái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nyvtári adat- és tudáshálózatok fejlődése jósolható korábbi és más hálók  alapján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folyásolják 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nyvtári feladataink tervezését és 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yakorlatát - mi a fejlődés iránya, melyek 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hetnek a lényeges csomópontok, hogyan lehet kontrolálni minták alapján a teljes 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yamat átláthatóságát pl. adatrobbanás vagy periférikussá 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álás, stb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hu-HU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5570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>
                <a:latin typeface="Arial" panose="020B0604020202020204" pitchFamily="34" charset="0"/>
                <a:cs typeface="Arial" panose="020B0604020202020204" pitchFamily="34" charset="0"/>
              </a:rPr>
              <a:t>Az adatmenedzsment hálózati megújulása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359999" y="1224537"/>
            <a:ext cx="5355001" cy="6198239"/>
          </a:xfrm>
          <a:solidFill>
            <a:schemeClr val="bg1"/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 hálózati adatkoncentráció és az </a:t>
            </a:r>
            <a:r>
              <a:rPr lang="hu-HU" sz="2000" b="1" i="1" dirty="0" err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open</a:t>
            </a:r>
            <a:r>
              <a:rPr lang="hu-HU" sz="20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linked </a:t>
            </a:r>
            <a:r>
              <a:rPr lang="hu-HU" sz="2000" b="1" i="1" dirty="0" err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data</a:t>
            </a: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fejlesztések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NEM HOZTÁK a könyvtári 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atalógusok </a:t>
            </a:r>
            <a:r>
              <a:rPr lang="hu-HU" sz="2000" b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hanyatlását –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jól 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ereshető, linkelhető, azonosítható, </a:t>
            </a:r>
            <a:r>
              <a:rPr lang="hu-H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orszerű katalógusokból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származtatható </a:t>
            </a:r>
            <a:r>
              <a:rPr lang="hu-HU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validált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, átvehető 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adatok  a szemantikai fejlesztésekben 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ulcstényezők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zabványos </a:t>
            </a:r>
            <a:r>
              <a:rPr lang="hu-HU" dirty="0" err="1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workflow</a:t>
            </a:r>
            <a:r>
              <a:rPr lang="hu-HU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az adatfeldolgozásban és hálózati kapcsolatokb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ialakulnak </a:t>
            </a:r>
            <a:r>
              <a:rPr lang="hu-HU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z „adatspecialista</a:t>
            </a:r>
            <a:r>
              <a:rPr lang="hu-HU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” 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névvel 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llethető munkakörök és munkafolyamatok körvonalai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könyvtári koncentrálódás, virtuális nemzetközi kooperáció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hivatkozható adatok és adathálózatok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hálózati adatfeldolgozás szabványai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egjelentek a „világkatalógusok” 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datmodelljei és </a:t>
            </a:r>
            <a:r>
              <a:rPr lang="hu-HU" dirty="0" err="1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datlinkjei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hu-HU" dirty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 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w</a:t>
            </a:r>
            <a:r>
              <a:rPr lang="hu-HU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eb 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formációs forrásaiban (</a:t>
            </a:r>
            <a:r>
              <a:rPr lang="hu-HU" dirty="0" err="1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Wikipédia</a:t>
            </a:r>
            <a:r>
              <a:rPr lang="hu-HU" dirty="0" smtClean="0">
                <a:solidFill>
                  <a:schemeClr val="accent1">
                    <a:lumMod val="50000"/>
                  </a:scheme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)</a:t>
            </a:r>
            <a:endParaRPr lang="hu-H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8</a:t>
            </a:fld>
            <a:endParaRPr lang="en-US" dirty="0"/>
          </a:p>
        </p:txBody>
      </p:sp>
      <p:pic>
        <p:nvPicPr>
          <p:cNvPr id="6" name="Picture 9" descr="http://commonplace.net/wp-content/uploads/2012/01/lodfrbr.png"/>
          <p:cNvPicPr>
            <a:picLocks noGrp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5502" y="882123"/>
            <a:ext cx="3529161" cy="476626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Kép 48" descr="data graphic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2090" y="5880925"/>
            <a:ext cx="1651753" cy="125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9511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Dátum helye 3"/>
          <p:cNvSpPr>
            <a:spLocks noGrp="1"/>
          </p:cNvSpPr>
          <p:nvPr>
            <p:ph type="dt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614271" indent="-236258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945032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323045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1701058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079071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457084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2835097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213110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B2E22AFD-5C0E-484D-854E-154145248453}" type="datetime1">
              <a:rPr lang="en-US" altLang="hu-HU" smtClean="0">
                <a:latin typeface="Tele-GroteskNor" pitchFamily="2" charset="0"/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5/23/2019</a:t>
            </a:fld>
            <a:endParaRPr lang="en-US" altLang="hu-HU" smtClean="0">
              <a:latin typeface="Tele-GroteskNor" pitchFamily="2" charset="0"/>
            </a:endParaRPr>
          </a:p>
        </p:txBody>
      </p:sp>
      <p:sp>
        <p:nvSpPr>
          <p:cNvPr id="12293" name="Dia számának helye 5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Fet" pitchFamily="2" charset="0"/>
              </a:defRPr>
            </a:lvl1pPr>
            <a:lvl2pPr marL="614271" indent="-236258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945032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323045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1701058" indent="-189006">
              <a:lnSpc>
                <a:spcPct val="90000"/>
              </a:lnSpc>
              <a:spcBef>
                <a:spcPct val="25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079071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457084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2835097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213110" indent="-189006" defTabSz="378013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2744301B-A9DA-4715-B7A7-C614BD99CB3B}" type="slidenum">
              <a:rPr lang="en-US" altLang="hu-HU" smtClean="0">
                <a:latin typeface="Tele-GroteskNor" pitchFamily="2" charset="0"/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9</a:t>
            </a:fld>
            <a:endParaRPr lang="en-US" altLang="hu-HU" smtClean="0">
              <a:latin typeface="Tele-GroteskNor" pitchFamily="2" charset="0"/>
            </a:endParaRPr>
          </a:p>
        </p:txBody>
      </p:sp>
      <p:sp>
        <p:nvSpPr>
          <p:cNvPr id="12296" name="Tartalom helye 2"/>
          <p:cNvSpPr>
            <a:spLocks noGrp="1"/>
          </p:cNvSpPr>
          <p:nvPr>
            <p:ph idx="1"/>
          </p:nvPr>
        </p:nvSpPr>
        <p:spPr>
          <a:xfrm>
            <a:off x="162111" y="1542535"/>
            <a:ext cx="4097810" cy="3513248"/>
          </a:xfrm>
          <a:solidFill>
            <a:schemeClr val="bg1"/>
          </a:solidFill>
          <a:ln>
            <a:solidFill>
              <a:srgbClr val="92D050"/>
            </a:solidFill>
          </a:ln>
        </p:spPr>
        <p:txBody>
          <a:bodyPr/>
          <a:lstStyle/>
          <a:p>
            <a:pPr marL="280885" indent="-280885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 adatkezelési stratégia</a:t>
            </a:r>
          </a:p>
          <a:p>
            <a:pPr marL="280885" indent="-280885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webes keresés és a felhasználó szempontja – mint kiindulási pont</a:t>
            </a:r>
          </a:p>
          <a:p>
            <a:pPr marL="280885" indent="-280885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dvelt webes technológiák beépítése </a:t>
            </a:r>
          </a:p>
          <a:p>
            <a:pPr marL="280885" indent="-280885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 oldalak integrálása a könyvtárhoz</a:t>
            </a:r>
          </a:p>
          <a:p>
            <a:pPr marL="280885" indent="-280885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használó „visszaterelése” a könyvtárba (legalább virtuálisan)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54045" y="280735"/>
            <a:ext cx="9926579" cy="44034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hu-HU" altLang="hu-HU" sz="231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altLang="hu-HU" sz="2800" dirty="0">
                <a:latin typeface="Arial" panose="020B0604020202020204" pitchFamily="34" charset="0"/>
                <a:cs typeface="Arial" panose="020B0604020202020204" pitchFamily="34" charset="0"/>
              </a:rPr>
              <a:t>Hogyan írjuk le adatainkat, </a:t>
            </a:r>
            <a:r>
              <a:rPr lang="hu-HU" altLang="hu-HU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gy jobban megfeleljünk a felhasználók elvárásainak?</a:t>
            </a:r>
            <a:r>
              <a:rPr lang="hu-HU" sz="2800" dirty="0"/>
              <a:t/>
            </a:r>
            <a:br>
              <a:rPr lang="hu-HU" sz="2800" dirty="0"/>
            </a:br>
            <a:endParaRPr lang="hu-HU" altLang="hu-HU" sz="198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Kép 10" descr="https://encrypted-tbn0.gstatic.com/images?q=tbn:ANd9GcR-32Ge8DaAq_81IBLPFdRWmKVYgvN9YyDKKjXh6CTTpgey8qbC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5905" y="3947796"/>
            <a:ext cx="832829" cy="858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7" descr="socialimage">
            <a:hlinkClick r:id="rId4"/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391" y="5629667"/>
            <a:ext cx="1170635" cy="900237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  <a:headEnd/>
            <a:tailEnd/>
          </a:ln>
          <a:extLst/>
        </p:spPr>
      </p:pic>
      <p:pic>
        <p:nvPicPr>
          <p:cNvPr id="13" name="Content Placeholder 6"/>
          <p:cNvPicPr/>
          <p:nvPr/>
        </p:nvPicPr>
        <p:blipFill>
          <a:blip r:embed="rId6"/>
          <a:stretch>
            <a:fillRect/>
          </a:stretch>
        </p:blipFill>
        <p:spPr bwMode="gray">
          <a:xfrm>
            <a:off x="5522593" y="5677713"/>
            <a:ext cx="1116471" cy="852191"/>
          </a:xfrm>
          <a:prstGeom prst="rect">
            <a:avLst/>
          </a:prstGeom>
          <a:noFill/>
          <a:ln w="9525" cap="sq" cmpd="thickThin">
            <a:solidFill>
              <a:srgbClr val="000000"/>
            </a:solidFill>
            <a:miter lim="800000"/>
            <a:headEnd/>
            <a:tailEnd/>
          </a:ln>
          <a:effectLst>
            <a:innerShdw blurRad="76200">
              <a:srgbClr val="000000"/>
            </a:innerShdw>
          </a:effectLst>
        </p:spPr>
      </p:pic>
      <p:sp>
        <p:nvSpPr>
          <p:cNvPr id="5" name="Szövegdoboz 4"/>
          <p:cNvSpPr txBox="1"/>
          <p:nvPr/>
        </p:nvSpPr>
        <p:spPr>
          <a:xfrm>
            <a:off x="154044" y="5309545"/>
            <a:ext cx="4996501" cy="1272656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72"/>
              </a:spcAft>
              <a:buClr>
                <a:schemeClr val="tx2"/>
              </a:buClr>
            </a:pPr>
            <a:r>
              <a:rPr lang="hu-HU" sz="1984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984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, a </a:t>
            </a:r>
            <a:r>
              <a:rPr lang="hu-HU" sz="1984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</a:t>
            </a:r>
            <a:r>
              <a:rPr lang="hu-HU" sz="1984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984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1984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984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kipédia</a:t>
            </a:r>
            <a:r>
              <a:rPr lang="hu-HU" sz="1984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agy a közösségi háló </a:t>
            </a:r>
          </a:p>
          <a:p>
            <a:pPr algn="ctr">
              <a:spcAft>
                <a:spcPts val="372"/>
              </a:spcAft>
              <a:buClr>
                <a:schemeClr val="tx2"/>
              </a:buClr>
            </a:pPr>
            <a:r>
              <a:rPr lang="hu-HU" sz="1984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ségbe foglaltan érhető el az adatok szintjéről – függetlenül a kiindulástól</a:t>
            </a:r>
          </a:p>
        </p:txBody>
      </p:sp>
      <p:pic>
        <p:nvPicPr>
          <p:cNvPr id="17" name="Picture 9" descr="Internet-usage-monitoring_cz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1073" y="5646321"/>
            <a:ext cx="1149821" cy="859478"/>
          </a:xfrm>
          <a:prstGeom prst="rect">
            <a:avLst/>
          </a:prstGeom>
          <a:noFill/>
          <a:ln>
            <a:solidFill>
              <a:schemeClr val="tx2"/>
            </a:solidFill>
          </a:ln>
          <a:extLst/>
        </p:spPr>
      </p:pic>
      <p:pic>
        <p:nvPicPr>
          <p:cNvPr id="19" name="Picture 9" descr="facebook">
            <a:hlinkClick r:id="rId8"/>
          </p:cNvPr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814" y="3226076"/>
            <a:ext cx="656426" cy="444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5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5216" y="3896640"/>
            <a:ext cx="1215850" cy="99013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Kép 20" descr="Képtalálat a következőre: „világháló kép”"/>
          <p:cNvPicPr/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5905" y="3681757"/>
            <a:ext cx="1424973" cy="1126058"/>
          </a:xfrm>
          <a:prstGeom prst="rect">
            <a:avLst/>
          </a:prstGeom>
          <a:noFill/>
          <a:ln>
            <a:noFill/>
          </a:ln>
        </p:spPr>
      </p:pic>
      <p:sp>
        <p:nvSpPr>
          <p:cNvPr id="12303" name="Folyamatábra: Kigyűjtés 12302"/>
          <p:cNvSpPr/>
          <p:nvPr/>
        </p:nvSpPr>
        <p:spPr>
          <a:xfrm rot="10800000">
            <a:off x="5055484" y="2781958"/>
            <a:ext cx="4057657" cy="356306"/>
          </a:xfrm>
          <a:prstGeom prst="flowChartExtra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902" dirty="0" err="1">
              <a:solidFill>
                <a:schemeClr val="tx1"/>
              </a:solidFill>
            </a:endParaRPr>
          </a:p>
        </p:txBody>
      </p:sp>
      <p:cxnSp>
        <p:nvCxnSpPr>
          <p:cNvPr id="12305" name="Egyenes összekötő 12304"/>
          <p:cNvCxnSpPr/>
          <p:nvPr/>
        </p:nvCxnSpPr>
        <p:spPr>
          <a:xfrm>
            <a:off x="5839749" y="3949191"/>
            <a:ext cx="664861" cy="338654"/>
          </a:xfrm>
          <a:prstGeom prst="line">
            <a:avLst/>
          </a:prstGeom>
          <a:ln w="12700">
            <a:solidFill>
              <a:schemeClr val="tx1"/>
            </a:solidFill>
            <a:tailEnd type="arrow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07" name="Egyenes összekötő nyíllal 12306"/>
          <p:cNvCxnSpPr/>
          <p:nvPr/>
        </p:nvCxnSpPr>
        <p:spPr>
          <a:xfrm flipV="1">
            <a:off x="5896002" y="4632392"/>
            <a:ext cx="402716" cy="429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09" name="Egyenes összekötő nyíllal 12308"/>
          <p:cNvCxnSpPr/>
          <p:nvPr/>
        </p:nvCxnSpPr>
        <p:spPr>
          <a:xfrm flipH="1">
            <a:off x="7469173" y="3949191"/>
            <a:ext cx="495374" cy="33865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11" name="Egyenes összekötő nyíllal 12310"/>
          <p:cNvCxnSpPr>
            <a:stCxn id="21" idx="2"/>
          </p:cNvCxnSpPr>
          <p:nvPr/>
        </p:nvCxnSpPr>
        <p:spPr>
          <a:xfrm>
            <a:off x="7018391" y="4807814"/>
            <a:ext cx="15963" cy="21872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13" name="Egyenes összekötő nyíllal 12312"/>
          <p:cNvCxnSpPr/>
          <p:nvPr/>
        </p:nvCxnSpPr>
        <p:spPr>
          <a:xfrm flipV="1">
            <a:off x="6080829" y="4899367"/>
            <a:ext cx="378403" cy="22044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17" name="Egyenes összekötő nyíllal 12316"/>
          <p:cNvCxnSpPr/>
          <p:nvPr/>
        </p:nvCxnSpPr>
        <p:spPr>
          <a:xfrm>
            <a:off x="7565330" y="4665165"/>
            <a:ext cx="399217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19" name="Egyenes összekötő nyíllal 12318"/>
          <p:cNvCxnSpPr/>
          <p:nvPr/>
        </p:nvCxnSpPr>
        <p:spPr>
          <a:xfrm>
            <a:off x="7542619" y="4872479"/>
            <a:ext cx="376517" cy="21872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Szövegdoboz 6"/>
          <p:cNvSpPr txBox="1"/>
          <p:nvPr/>
        </p:nvSpPr>
        <p:spPr>
          <a:xfrm>
            <a:off x="6270031" y="3309551"/>
            <a:ext cx="1679648" cy="2927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72"/>
              </a:spcAft>
              <a:buClr>
                <a:schemeClr val="tx2"/>
              </a:buClr>
            </a:pPr>
            <a:r>
              <a:rPr lang="hu-HU" sz="1902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</a:t>
            </a:r>
          </a:p>
        </p:txBody>
      </p:sp>
      <p:sp>
        <p:nvSpPr>
          <p:cNvPr id="4" name="Szövegdoboz 3"/>
          <p:cNvSpPr txBox="1"/>
          <p:nvPr/>
        </p:nvSpPr>
        <p:spPr>
          <a:xfrm>
            <a:off x="4406996" y="1526091"/>
            <a:ext cx="5405718" cy="1353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alt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lhasználó </a:t>
            </a:r>
            <a:r>
              <a:rPr lang="hu-HU" alt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mlélet, </a:t>
            </a:r>
            <a:r>
              <a:rPr lang="hu-HU" altLang="hu-H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web technológia </a:t>
            </a:r>
            <a:r>
              <a:rPr lang="hu-HU" altLang="hu-H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a könyvtári adatkezelés konvergenciája egységesített platformokon</a:t>
            </a:r>
            <a:r>
              <a:rPr lang="hu-HU" alt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alt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2000" dirty="0" smtClean="0">
              <a:solidFill>
                <a:schemeClr val="accent1">
                  <a:lumMod val="75000"/>
                </a:schemeClr>
              </a:solidFill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499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-Systems_MASTER_4-3_EN_20151005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ts val="300"/>
          </a:spcBef>
          <a:spcAft>
            <a:spcPct val="0"/>
          </a:spcAft>
          <a:buClr>
            <a:schemeClr val="tx1"/>
          </a:buClr>
          <a:buSzPct val="70000"/>
          <a:defRPr sz="1800" dirty="0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-Systems_MASTER_4-3_EN_20150916" id="{DFEFAFB4-ABC7-4B25-965E-2C14A01E366B}" vid="{D2B6305F-D7EB-42C0-B52E-42296371498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-Systems_MASTER_4-3_EN_20151005</Template>
  <TotalTime>0</TotalTime>
  <Words>3625</Words>
  <Application>Microsoft Office PowerPoint</Application>
  <PresentationFormat>Egyéni</PresentationFormat>
  <Paragraphs>357</Paragraphs>
  <Slides>28</Slides>
  <Notes>9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14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28</vt:i4>
      </vt:variant>
    </vt:vector>
  </HeadingPairs>
  <TitlesOfParts>
    <vt:vector size="44" baseType="lpstr">
      <vt:lpstr>MS PGothic</vt:lpstr>
      <vt:lpstr>Arial</vt:lpstr>
      <vt:lpstr>Arial Black</vt:lpstr>
      <vt:lpstr>Arial Unicode MS</vt:lpstr>
      <vt:lpstr>Calibri</vt:lpstr>
      <vt:lpstr>Swagger</vt:lpstr>
      <vt:lpstr>TeleGrotesk Headline</vt:lpstr>
      <vt:lpstr>TeleGrotesk Headline Ultra</vt:lpstr>
      <vt:lpstr>Tele-GroteskFet</vt:lpstr>
      <vt:lpstr>Tele-GroteskNor</vt:lpstr>
      <vt:lpstr>Tele-GroteskUlt</vt:lpstr>
      <vt:lpstr>Times New Roman</vt:lpstr>
      <vt:lpstr>Wingdings</vt:lpstr>
      <vt:lpstr>Wingdings 2</vt:lpstr>
      <vt:lpstr>T-Systems_MASTER_4-3_EN_20151005</vt:lpstr>
      <vt:lpstr>think-cell Folie</vt:lpstr>
      <vt:lpstr>  </vt:lpstr>
      <vt:lpstr>Trendek – digitális kihívások - áttekintés</vt:lpstr>
      <vt:lpstr>Digitális hálózati koncentráció, minőségi változás, domináns könyvtári modell  </vt:lpstr>
      <vt:lpstr>A könyvtárak, a tudományok és a használók együtthatása a hálózaton</vt:lpstr>
      <vt:lpstr>Krízisek és könyvtári stratégiák változó környezetben</vt:lpstr>
      <vt:lpstr>„Data of web” a leírás alapegysége nem a rekord, hanem az adat - újra definiált katalogizálás  </vt:lpstr>
      <vt:lpstr>Adatgazdag intézmények a digitális hálókban -  szemantikus web fejlődési irány</vt:lpstr>
      <vt:lpstr>Az adatmenedzsment hálózati megújulása</vt:lpstr>
      <vt:lpstr> Hogyan írjuk le adatainkat, hogy jobban megfeleljünk a felhasználók elvárásainak? </vt:lpstr>
      <vt:lpstr>PowerPoint-bemutató</vt:lpstr>
      <vt:lpstr>Változásmenedzsment, mint könyvtári életforma</vt:lpstr>
      <vt:lpstr>Transzformációt generáló külső, társadalmi hatások</vt:lpstr>
      <vt:lpstr>Könyvtárak újrapozícionálása, szerepmódosítások</vt:lpstr>
      <vt:lpstr>A könyvtár mint intellektuális tér, az önálló tanulás és felkészülés inspirálója </vt:lpstr>
      <vt:lpstr>Library as a platform: egységesített infrastruktúra digitális könyvtári szolgáltatásokhoz</vt:lpstr>
      <vt:lpstr>PowerPoint-bemutató</vt:lpstr>
      <vt:lpstr>„ACCESS” / elérhetőség és hozzáférés az új technológia kiterjeszti de korlátozhatja is a hozzáférést</vt:lpstr>
      <vt:lpstr>A nyílt hozzáférés és a könyvtári szerepek változása – IFLA trendek   </vt:lpstr>
      <vt:lpstr>Folyamatosan újabb generációs trendek és leszakadó rétegek keletkeznek – könyvtári kiegyenlítés </vt:lpstr>
      <vt:lpstr>A könyvtárak szerepe és jövője a tanulási technológiák innovatív támogatása </vt:lpstr>
      <vt:lpstr>On-line tanulás, digitális könyvtári kurzusok, tanulás támogatás</vt:lpstr>
      <vt:lpstr>MOOC – Massive Open Online Course - Internet, Social Networking, Online Learning </vt:lpstr>
      <vt:lpstr>Tendenciák – súlyos különbségek használatban, lehetőségekben</vt:lpstr>
      <vt:lpstr>A humán tényező erősödése: digitális bölcsészet</vt:lpstr>
      <vt:lpstr>„Smart” cities – libraries - intelligens rendszerek és fenntartható fejlődés </vt:lpstr>
      <vt:lpstr>Internet of relations / Internet of Things (IoT) –   egy új hálózati „second life” ?</vt:lpstr>
      <vt:lpstr>„SMART” - gyorsabb, jobb, okosabb digitális technológiai váltások</vt:lpstr>
      <vt:lpstr>PowerPoint-bemutat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digitális hálózat dinamikus tágulása</dc:title>
  <dc:creator/>
  <cp:lastModifiedBy/>
  <cp:revision>1</cp:revision>
  <dcterms:created xsi:type="dcterms:W3CDTF">2016-03-21T12:39:24Z</dcterms:created>
  <dcterms:modified xsi:type="dcterms:W3CDTF">2019-05-23T07:10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610292040</vt:i4>
  </property>
  <property fmtid="{D5CDD505-2E9C-101B-9397-08002B2CF9AE}" pid="3" name="_NewReviewCycle">
    <vt:lpwstr/>
  </property>
  <property fmtid="{D5CDD505-2E9C-101B-9397-08002B2CF9AE}" pid="4" name="_PreviousAdHocReviewCycleID">
    <vt:i4>1667370568</vt:i4>
  </property>
</Properties>
</file>